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4" r:id="rId6"/>
  </p:sldMasterIdLst>
  <p:notesMasterIdLst>
    <p:notesMasterId r:id="rId16"/>
  </p:notesMasterIdLst>
  <p:sldIdLst>
    <p:sldId id="2147482036" r:id="rId7"/>
    <p:sldId id="2147471762" r:id="rId8"/>
    <p:sldId id="427" r:id="rId9"/>
    <p:sldId id="689" r:id="rId10"/>
    <p:sldId id="429" r:id="rId11"/>
    <p:sldId id="2147483140" r:id="rId12"/>
    <p:sldId id="2147483141" r:id="rId13"/>
    <p:sldId id="2147483146" r:id="rId14"/>
    <p:sldId id="529" r:id="rId15"/>
  </p:sldIdLst>
  <p:sldSz cx="12192000" cy="6858000"/>
  <p:notesSz cx="6797675" cy="992822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94B8A0-A5CA-4EAC-B376-BEA6D94F2BF4}" v="46" dt="2024-09-01T02:04:56.52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3792" autoAdjust="0"/>
  </p:normalViewPr>
  <p:slideViewPr>
    <p:cSldViewPr snapToGrid="0">
      <p:cViewPr varScale="1">
        <p:scale>
          <a:sx n="60" d="100"/>
          <a:sy n="60" d="100"/>
        </p:scale>
        <p:origin x="876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https://engie-my.sharepoint.com/personal/nw5862_engie_com/Documents/Demand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engie.sharepoint.com/sites/arm/Shared%20Documents/CAME/_Estudos/Interc&#226;mbio%20Internacional%20de%20Energia/Hist&#243;rico%20EVT%20ENA%20e%20PLD/graficos%20GSF%20_v1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oleObject" Target="https://engie.sharepoint.com/sites/arm/Shared%20Documents/CAME/_Estudos/Interc&#226;mbio%20Internacional%20de%20Energia/Hist&#243;rico%20EVT%20ENA%20e%20PLD/graficos%20GSF%20_v1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engie.sharepoint.com/sites/arm/Shared%20Documents/CAME/_Apresenta&#231;&#245;es/2023%2008%2015%20CAGR%20Installed%20Capacity/outros/Evolu&#231;&#227;o%20Capacidade%20Instalad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50"/>
              </a:solidFill>
              <a:ln w="9525">
                <a:noFill/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173C-442C-B855-DF0B88C3066F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173C-442C-B855-DF0B88C3066F}"/>
              </c:ext>
            </c:extLst>
          </c:dPt>
          <c:dPt>
            <c:idx val="16"/>
            <c:marker>
              <c:symbol val="circle"/>
              <c:size val="5"/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173C-442C-B855-DF0B88C3066F}"/>
              </c:ext>
            </c:extLst>
          </c:dPt>
          <c:dPt>
            <c:idx val="20"/>
            <c:marker>
              <c:symbol val="circle"/>
              <c:size val="5"/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  <c:spPr>
              <a:ln w="28575" cap="rnd">
                <a:solidFill>
                  <a:srgbClr val="FF0000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173C-442C-B855-DF0B88C3066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C$3:$AF$3</c:f>
              <c:strCache>
                <c:ptCount val="2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E</c:v>
                </c:pt>
              </c:strCache>
              <c:extLst/>
            </c:strRef>
          </c:cat>
          <c:val>
            <c:numRef>
              <c:f>Sheet1!$C$8:$AF$8</c:f>
              <c:numCache>
                <c:formatCode>0.0</c:formatCode>
                <c:ptCount val="25"/>
                <c:pt idx="0">
                  <c:v>40.811999999999998</c:v>
                </c:pt>
                <c:pt idx="1">
                  <c:v>37.723999999999997</c:v>
                </c:pt>
                <c:pt idx="2">
                  <c:v>39.664000000000001</c:v>
                </c:pt>
                <c:pt idx="3">
                  <c:v>41.76</c:v>
                </c:pt>
                <c:pt idx="4">
                  <c:v>43.727000000000004</c:v>
                </c:pt>
                <c:pt idx="5">
                  <c:v>45.707000000000001</c:v>
                </c:pt>
                <c:pt idx="6">
                  <c:v>47.466000000000008</c:v>
                </c:pt>
                <c:pt idx="7">
                  <c:v>49.723999999999997</c:v>
                </c:pt>
                <c:pt idx="8">
                  <c:v>51.003000000000007</c:v>
                </c:pt>
                <c:pt idx="9">
                  <c:v>50.592000000000006</c:v>
                </c:pt>
                <c:pt idx="10">
                  <c:v>54.222000000000001</c:v>
                </c:pt>
                <c:pt idx="11">
                  <c:v>56.076000000000001</c:v>
                </c:pt>
                <c:pt idx="12">
                  <c:v>58.540999999999997</c:v>
                </c:pt>
                <c:pt idx="13">
                  <c:v>58.608159191468388</c:v>
                </c:pt>
                <c:pt idx="14">
                  <c:v>61.593636007823463</c:v>
                </c:pt>
                <c:pt idx="15">
                  <c:v>64.626796583941015</c:v>
                </c:pt>
                <c:pt idx="16">
                  <c:v>64.620935176693806</c:v>
                </c:pt>
                <c:pt idx="17">
                  <c:v>65.611569658695899</c:v>
                </c:pt>
                <c:pt idx="18">
                  <c:v>66.639790097748957</c:v>
                </c:pt>
                <c:pt idx="19">
                  <c:v>68.096142005559116</c:v>
                </c:pt>
                <c:pt idx="20">
                  <c:v>67.546782079514287</c:v>
                </c:pt>
                <c:pt idx="21">
                  <c:v>70.919262615623524</c:v>
                </c:pt>
                <c:pt idx="22">
                  <c:v>72.319524944801813</c:v>
                </c:pt>
                <c:pt idx="23">
                  <c:v>76.308201810010274</c:v>
                </c:pt>
                <c:pt idx="24">
                  <c:v>80.0392993730108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8-173C-442C-B855-DF0B88C306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81968783"/>
        <c:axId val="1181953903"/>
      </c:lineChart>
      <c:catAx>
        <c:axId val="1181968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181953903"/>
        <c:crosses val="autoZero"/>
        <c:auto val="1"/>
        <c:lblAlgn val="ctr"/>
        <c:lblOffset val="100"/>
        <c:noMultiLvlLbl val="0"/>
      </c:catAx>
      <c:valAx>
        <c:axId val="1181953903"/>
        <c:scaling>
          <c:orientation val="minMax"/>
          <c:min val="3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pt-BR" dirty="0"/>
                  <a:t>Demanda Total  [GW </a:t>
                </a:r>
                <a:r>
                  <a:rPr lang="pt-BR" dirty="0" err="1"/>
                  <a:t>med</a:t>
                </a:r>
                <a:r>
                  <a:rPr lang="pt-BR" dirty="0"/>
                  <a:t>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pt-BR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181968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pt-B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6210232479951461E-2"/>
          <c:y val="0.10669922357266318"/>
          <c:w val="0.88961496457194145"/>
          <c:h val="0.77421114780278522"/>
        </c:manualLayout>
      </c:layout>
      <c:barChart>
        <c:barDir val="col"/>
        <c:grouping val="clustered"/>
        <c:varyColors val="0"/>
        <c:ser>
          <c:idx val="0"/>
          <c:order val="0"/>
          <c:tx>
            <c:v>EVT</c:v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w regra epe'!$C$2:$Z$2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'nw regra epe'!$C$6:$Z$6</c:f>
              <c:numCache>
                <c:formatCode>0</c:formatCode>
                <c:ptCount val="24"/>
                <c:pt idx="0">
                  <c:v>0.82697588272703793</c:v>
                </c:pt>
                <c:pt idx="1">
                  <c:v>0.93082537156540957</c:v>
                </c:pt>
                <c:pt idx="2">
                  <c:v>0.10041186229032764</c:v>
                </c:pt>
                <c:pt idx="3">
                  <c:v>6.925615622615397E-2</c:v>
                </c:pt>
                <c:pt idx="4">
                  <c:v>4.1427600723247318E-2</c:v>
                </c:pt>
                <c:pt idx="5">
                  <c:v>0.13813767599502105</c:v>
                </c:pt>
                <c:pt idx="6">
                  <c:v>5.8182950811363383E-2</c:v>
                </c:pt>
                <c:pt idx="7">
                  <c:v>1.1471112633935761</c:v>
                </c:pt>
                <c:pt idx="8">
                  <c:v>0.72983188126026688</c:v>
                </c:pt>
                <c:pt idx="9">
                  <c:v>1.4149186537938367</c:v>
                </c:pt>
                <c:pt idx="10">
                  <c:v>2.3799457322619033</c:v>
                </c:pt>
                <c:pt idx="11">
                  <c:v>2.3007408368603777</c:v>
                </c:pt>
                <c:pt idx="12">
                  <c:v>0.77168938088952732</c:v>
                </c:pt>
                <c:pt idx="13">
                  <c:v>0.82946827174169724</c:v>
                </c:pt>
                <c:pt idx="14">
                  <c:v>0.72509523953633981</c:v>
                </c:pt>
                <c:pt idx="15">
                  <c:v>1.3210300007203668</c:v>
                </c:pt>
                <c:pt idx="16">
                  <c:v>1.7637597190520571</c:v>
                </c:pt>
                <c:pt idx="17">
                  <c:v>1.4909649134150302</c:v>
                </c:pt>
                <c:pt idx="18">
                  <c:v>1.859379347519033</c:v>
                </c:pt>
                <c:pt idx="19">
                  <c:v>1.7703335678826977</c:v>
                </c:pt>
                <c:pt idx="20">
                  <c:v>2.6045302341677603</c:v>
                </c:pt>
                <c:pt idx="21">
                  <c:v>1.3192409120841879</c:v>
                </c:pt>
                <c:pt idx="22">
                  <c:v>2.6260949362477035</c:v>
                </c:pt>
                <c:pt idx="23">
                  <c:v>6.06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7E-4A94-9850-0B83C70C56E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4"/>
        <c:overlap val="-14"/>
        <c:axId val="616637888"/>
        <c:axId val="616634048"/>
      </c:barChart>
      <c:lineChart>
        <c:grouping val="standard"/>
        <c:varyColors val="0"/>
        <c:ser>
          <c:idx val="1"/>
          <c:order val="1"/>
          <c:tx>
            <c:strRef>
              <c:f>'nw regra epe'!$B$4</c:f>
              <c:strCache>
                <c:ptCount val="1"/>
                <c:pt idx="0">
                  <c:v>ENA/MLT</c:v>
                </c:pt>
              </c:strCache>
            </c:strRef>
          </c:tx>
          <c:spPr>
            <a:ln w="28575" cap="rnd">
              <a:solidFill>
                <a:srgbClr val="67AE6E"/>
              </a:solidFill>
              <a:prstDash val="dash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w regra epe'!$C$2:$Z$2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'nw regra epe'!$C$4:$Z$4</c:f>
              <c:numCache>
                <c:formatCode>0%</c:formatCode>
                <c:ptCount val="24"/>
                <c:pt idx="0">
                  <c:v>1.0493768812547912</c:v>
                </c:pt>
                <c:pt idx="1">
                  <c:v>0.88092266841831846</c:v>
                </c:pt>
                <c:pt idx="2">
                  <c:v>0.94199262290137586</c:v>
                </c:pt>
                <c:pt idx="3">
                  <c:v>0.85879013702733198</c:v>
                </c:pt>
                <c:pt idx="4">
                  <c:v>1.0549722538375357</c:v>
                </c:pt>
                <c:pt idx="5">
                  <c:v>1.0547437130288768</c:v>
                </c:pt>
                <c:pt idx="6">
                  <c:v>0.97881353351748379</c:v>
                </c:pt>
                <c:pt idx="7">
                  <c:v>1.034216576162676</c:v>
                </c:pt>
                <c:pt idx="8">
                  <c:v>1.0111716889672981</c:v>
                </c:pt>
                <c:pt idx="9">
                  <c:v>1.1711551992246467</c:v>
                </c:pt>
                <c:pt idx="10">
                  <c:v>1.006238302287281</c:v>
                </c:pt>
                <c:pt idx="11">
                  <c:v>1.1816142616450507</c:v>
                </c:pt>
                <c:pt idx="12">
                  <c:v>0.90080743291514398</c:v>
                </c:pt>
                <c:pt idx="13">
                  <c:v>1.0050229045656789</c:v>
                </c:pt>
                <c:pt idx="14">
                  <c:v>0.9013113561278685</c:v>
                </c:pt>
                <c:pt idx="15">
                  <c:v>0.91819642776672183</c:v>
                </c:pt>
                <c:pt idx="16">
                  <c:v>0.83889263889291998</c:v>
                </c:pt>
                <c:pt idx="17">
                  <c:v>0.70887987705381794</c:v>
                </c:pt>
                <c:pt idx="18">
                  <c:v>0.82706563386396548</c:v>
                </c:pt>
                <c:pt idx="19">
                  <c:v>0.76556957010583115</c:v>
                </c:pt>
                <c:pt idx="20">
                  <c:v>0.80067900048918472</c:v>
                </c:pt>
                <c:pt idx="21">
                  <c:v>0.7239083544809104</c:v>
                </c:pt>
                <c:pt idx="22">
                  <c:v>0.97761941838617872</c:v>
                </c:pt>
                <c:pt idx="23">
                  <c:v>1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D7E-4A94-9850-0B83C70C56E1}"/>
            </c:ext>
          </c:extLst>
        </c:ser>
        <c:ser>
          <c:idx val="3"/>
          <c:order val="2"/>
          <c:tx>
            <c:strRef>
              <c:f>'nw regra epe'!$A$7</c:f>
              <c:strCache>
                <c:ptCount val="1"/>
                <c:pt idx="0">
                  <c:v>GSF Verificad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w regra epe'!$C$2:$Z$2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'nw regra epe'!$C$7:$Z$7</c:f>
              <c:numCache>
                <c:formatCode>0.00</c:formatCode>
                <c:ptCount val="24"/>
                <c:pt idx="0">
                  <c:v>1.0003255184328765</c:v>
                </c:pt>
                <c:pt idx="1">
                  <c:v>0.86697558332425229</c:v>
                </c:pt>
                <c:pt idx="2">
                  <c:v>0.90075875846120101</c:v>
                </c:pt>
                <c:pt idx="3">
                  <c:v>0.96217199233543971</c:v>
                </c:pt>
                <c:pt idx="4">
                  <c:v>0.99388199836281133</c:v>
                </c:pt>
                <c:pt idx="5">
                  <c:v>1.0226601684222409</c:v>
                </c:pt>
                <c:pt idx="6">
                  <c:v>1.0372785365227561</c:v>
                </c:pt>
                <c:pt idx="7">
                  <c:v>1.089147057740679</c:v>
                </c:pt>
                <c:pt idx="8" formatCode="General">
                  <c:v>1.03</c:v>
                </c:pt>
                <c:pt idx="9" formatCode="General">
                  <c:v>1.08</c:v>
                </c:pt>
                <c:pt idx="10" formatCode="General">
                  <c:v>1.0900000000000001</c:v>
                </c:pt>
                <c:pt idx="11" formatCode="General">
                  <c:v>1.1299999999999999</c:v>
                </c:pt>
                <c:pt idx="12" formatCode="General">
                  <c:v>1.08</c:v>
                </c:pt>
                <c:pt idx="13" formatCode="General">
                  <c:v>0.99</c:v>
                </c:pt>
                <c:pt idx="14" formatCode="General">
                  <c:v>0.91</c:v>
                </c:pt>
                <c:pt idx="15">
                  <c:v>0.84605807803198807</c:v>
                </c:pt>
                <c:pt idx="16">
                  <c:v>0.86884391677187089</c:v>
                </c:pt>
                <c:pt idx="17">
                  <c:v>0.79400000000000004</c:v>
                </c:pt>
                <c:pt idx="18">
                  <c:v>0.81399999999999995</c:v>
                </c:pt>
                <c:pt idx="19">
                  <c:v>0.81000000000000016</c:v>
                </c:pt>
                <c:pt idx="20">
                  <c:v>0.80300000000000005</c:v>
                </c:pt>
                <c:pt idx="21">
                  <c:v>0.72599999999999998</c:v>
                </c:pt>
                <c:pt idx="22">
                  <c:v>0.86199999999999999</c:v>
                </c:pt>
                <c:pt idx="23">
                  <c:v>0.903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D7E-4A94-9850-0B83C70C56E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73789312"/>
        <c:axId val="573799392"/>
        <c:extLst/>
      </c:lineChart>
      <c:catAx>
        <c:axId val="616637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16634048"/>
        <c:crosses val="autoZero"/>
        <c:auto val="1"/>
        <c:lblAlgn val="ctr"/>
        <c:lblOffset val="100"/>
        <c:noMultiLvlLbl val="0"/>
      </c:catAx>
      <c:valAx>
        <c:axId val="616634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accent1">
                        <a:lumMod val="90000"/>
                        <a:lumOff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>
                    <a:solidFill>
                      <a:schemeClr val="accent1">
                        <a:lumMod val="90000"/>
                        <a:lumOff val="10000"/>
                      </a:schemeClr>
                    </a:solidFill>
                  </a:rPr>
                  <a:t>GWm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accent1">
                      <a:lumMod val="90000"/>
                      <a:lumOff val="1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16637888"/>
        <c:crosses val="autoZero"/>
        <c:crossBetween val="between"/>
      </c:valAx>
      <c:valAx>
        <c:axId val="573799392"/>
        <c:scaling>
          <c:orientation val="minMax"/>
          <c:min val="0.65000000000000013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73789312"/>
        <c:crosses val="max"/>
        <c:crossBetween val="between"/>
      </c:valAx>
      <c:catAx>
        <c:axId val="5737893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7379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6680530230335906"/>
          <c:y val="1.3937282229965157E-2"/>
          <c:w val="0.312464145380349"/>
          <c:h val="9.52545565950597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4316072154374042E-2"/>
          <c:y val="0.11148845635134354"/>
          <c:w val="0.86645751726151177"/>
          <c:h val="0.77421114780278522"/>
        </c:manualLayout>
      </c:layout>
      <c:lineChart>
        <c:grouping val="standard"/>
        <c:varyColors val="0"/>
        <c:ser>
          <c:idx val="0"/>
          <c:order val="0"/>
          <c:tx>
            <c:strRef>
              <c:f>'nw regra epe'!$B$9</c:f>
              <c:strCache>
                <c:ptCount val="1"/>
                <c:pt idx="0">
                  <c:v>PLD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numFmt formatCode="#,##0" sourceLinked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w regra epe'!$C$2:$Z$2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'nw regra epe'!$C$9:$Z$9</c:f>
              <c:numCache>
                <c:formatCode>0.0</c:formatCode>
                <c:ptCount val="24"/>
                <c:pt idx="1">
                  <c:v>395.74712328767129</c:v>
                </c:pt>
                <c:pt idx="2">
                  <c:v>37.605780821917818</c:v>
                </c:pt>
                <c:pt idx="3">
                  <c:v>13.253534246575342</c:v>
                </c:pt>
                <c:pt idx="4">
                  <c:v>19.034672131147541</c:v>
                </c:pt>
                <c:pt idx="5">
                  <c:v>28.953780821917807</c:v>
                </c:pt>
                <c:pt idx="6">
                  <c:v>67.313205479452037</c:v>
                </c:pt>
                <c:pt idx="7">
                  <c:v>97.383041095890405</c:v>
                </c:pt>
                <c:pt idx="8">
                  <c:v>135.421912568306</c:v>
                </c:pt>
                <c:pt idx="9">
                  <c:v>38.725506849315074</c:v>
                </c:pt>
                <c:pt idx="10">
                  <c:v>70.297041095890421</c:v>
                </c:pt>
                <c:pt idx="11">
                  <c:v>29.318273972602736</c:v>
                </c:pt>
                <c:pt idx="12">
                  <c:v>166.71792349726775</c:v>
                </c:pt>
                <c:pt idx="13">
                  <c:v>263.06586301369867</c:v>
                </c:pt>
                <c:pt idx="14">
                  <c:v>688.88197260273967</c:v>
                </c:pt>
                <c:pt idx="15">
                  <c:v>287.18331506849313</c:v>
                </c:pt>
                <c:pt idx="16">
                  <c:v>94.123251366120215</c:v>
                </c:pt>
                <c:pt idx="17">
                  <c:v>324.22071232876709</c:v>
                </c:pt>
                <c:pt idx="18">
                  <c:v>288.56665753424659</c:v>
                </c:pt>
                <c:pt idx="19">
                  <c:v>225.62860273972603</c:v>
                </c:pt>
                <c:pt idx="20">
                  <c:v>176.98325136612024</c:v>
                </c:pt>
                <c:pt idx="21">
                  <c:v>280.49663013698631</c:v>
                </c:pt>
                <c:pt idx="22">
                  <c:v>59.046931506849319</c:v>
                </c:pt>
                <c:pt idx="23">
                  <c:v>72.1552054794520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B0-4449-AE21-4059FAA19D3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616637888"/>
        <c:axId val="616634048"/>
      </c:lineChart>
      <c:catAx>
        <c:axId val="616637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16634048"/>
        <c:crosses val="autoZero"/>
        <c:auto val="1"/>
        <c:lblAlgn val="ctr"/>
        <c:lblOffset val="100"/>
        <c:noMultiLvlLbl val="0"/>
      </c:catAx>
      <c:valAx>
        <c:axId val="6166340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R$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16637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pt-BR" sz="1400" b="1" baseline="0" dirty="0"/>
              <a:t> </a:t>
            </a:r>
            <a:r>
              <a:rPr lang="pt-BR" sz="1400" b="1" dirty="0"/>
              <a:t> </a:t>
            </a:r>
            <a:endParaRPr lang="pt-BR" sz="1400" b="1" baseline="0" dirty="0"/>
          </a:p>
          <a:p>
            <a:pPr algn="l">
              <a:defRPr sz="1400"/>
            </a:pPr>
            <a:r>
              <a:rPr lang="pt-BR" sz="1400" baseline="0" dirty="0"/>
              <a:t>GW</a:t>
            </a:r>
            <a:endParaRPr lang="pt-BR" sz="1400" dirty="0"/>
          </a:p>
        </c:rich>
      </c:tx>
      <c:layout>
        <c:manualLayout>
          <c:xMode val="edge"/>
          <c:yMode val="edge"/>
          <c:x val="1.1010886109839486E-3"/>
          <c:y val="2.98694557445173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pt-B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Hidrelétrica</c:v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Planilha3!$R$98:$R$121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Planilha3!$S$98:$S$121</c:f>
              <c:numCache>
                <c:formatCode>General</c:formatCode>
                <c:ptCount val="24"/>
                <c:pt idx="0">
                  <c:v>66.296706</c:v>
                </c:pt>
                <c:pt idx="1">
                  <c:v>67.436205999999999</c:v>
                </c:pt>
                <c:pt idx="2">
                  <c:v>69.503575999999995</c:v>
                </c:pt>
                <c:pt idx="3">
                  <c:v>70.327087000000006</c:v>
                </c:pt>
                <c:pt idx="4">
                  <c:v>70.862087000000002</c:v>
                </c:pt>
                <c:pt idx="5">
                  <c:v>72.222454999999997</c:v>
                </c:pt>
                <c:pt idx="6">
                  <c:v>73.691573000000005</c:v>
                </c:pt>
                <c:pt idx="7">
                  <c:v>74.781572999999995</c:v>
                </c:pt>
                <c:pt idx="8">
                  <c:v>75.011572999999999</c:v>
                </c:pt>
                <c:pt idx="9">
                  <c:v>75.796109999999999</c:v>
                </c:pt>
                <c:pt idx="10">
                  <c:v>77.379746999999995</c:v>
                </c:pt>
                <c:pt idx="11">
                  <c:v>78.852247000000006</c:v>
                </c:pt>
                <c:pt idx="12">
                  <c:v>82.860384999999994</c:v>
                </c:pt>
                <c:pt idx="13">
                  <c:v>87.213984999999994</c:v>
                </c:pt>
                <c:pt idx="14">
                  <c:v>87.911434999999997</c:v>
                </c:pt>
                <c:pt idx="15">
                  <c:v>89.731234999999998</c:v>
                </c:pt>
                <c:pt idx="16">
                  <c:v>101.265377</c:v>
                </c:pt>
                <c:pt idx="17">
                  <c:v>101.965377</c:v>
                </c:pt>
                <c:pt idx="18">
                  <c:v>101.965377</c:v>
                </c:pt>
                <c:pt idx="19">
                  <c:v>103.05345699999999</c:v>
                </c:pt>
                <c:pt idx="20">
                  <c:v>103.05345699999999</c:v>
                </c:pt>
                <c:pt idx="21">
                  <c:v>103.05345699999999</c:v>
                </c:pt>
                <c:pt idx="22">
                  <c:v>103.195357</c:v>
                </c:pt>
                <c:pt idx="23">
                  <c:v>103.195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1-4275-9A28-4EB47ABE04C2}"/>
            </c:ext>
          </c:extLst>
        </c:ser>
        <c:ser>
          <c:idx val="3"/>
          <c:order val="1"/>
          <c:tx>
            <c:v>PCH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Planilha3!$R$98:$R$121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Planilha3!$V$98:$V$121</c:f>
              <c:numCache>
                <c:formatCode>General</c:formatCode>
                <c:ptCount val="24"/>
                <c:pt idx="0">
                  <c:v>0.97475826999999993</c:v>
                </c:pt>
                <c:pt idx="1">
                  <c:v>1.0424308699999998</c:v>
                </c:pt>
                <c:pt idx="2">
                  <c:v>1.1316110999999998</c:v>
                </c:pt>
                <c:pt idx="3">
                  <c:v>1.40659658</c:v>
                </c:pt>
                <c:pt idx="4">
                  <c:v>1.4731506799999996</c:v>
                </c:pt>
                <c:pt idx="5">
                  <c:v>1.61288543</c:v>
                </c:pt>
                <c:pt idx="6">
                  <c:v>1.8413833799999999</c:v>
                </c:pt>
                <c:pt idx="7">
                  <c:v>2.1060948399999999</c:v>
                </c:pt>
                <c:pt idx="8">
                  <c:v>2.7939586399999996</c:v>
                </c:pt>
                <c:pt idx="9">
                  <c:v>3.2405486399999996</c:v>
                </c:pt>
                <c:pt idx="10">
                  <c:v>3.7154376299999998</c:v>
                </c:pt>
                <c:pt idx="11">
                  <c:v>4.1878202299999998</c:v>
                </c:pt>
                <c:pt idx="12">
                  <c:v>4.5692631699999993</c:v>
                </c:pt>
                <c:pt idx="13">
                  <c:v>4.8158786099999986</c:v>
                </c:pt>
                <c:pt idx="14">
                  <c:v>4.9642140100000001</c:v>
                </c:pt>
                <c:pt idx="15">
                  <c:v>5.1246763399999997</c:v>
                </c:pt>
                <c:pt idx="16">
                  <c:v>5.3345085899999987</c:v>
                </c:pt>
                <c:pt idx="17">
                  <c:v>5.5784343599999993</c:v>
                </c:pt>
                <c:pt idx="18">
                  <c:v>5.7733918599999994</c:v>
                </c:pt>
                <c:pt idx="19">
                  <c:v>6.0248448099999994</c:v>
                </c:pt>
                <c:pt idx="20">
                  <c:v>6.1994328099999993</c:v>
                </c:pt>
                <c:pt idx="21">
                  <c:v>6.3232958099999985</c:v>
                </c:pt>
                <c:pt idx="22">
                  <c:v>6.5214414099999987</c:v>
                </c:pt>
                <c:pt idx="23">
                  <c:v>6.637963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41-4275-9A28-4EB47ABE04C2}"/>
            </c:ext>
          </c:extLst>
        </c:ser>
        <c:ser>
          <c:idx val="1"/>
          <c:order val="2"/>
          <c:tx>
            <c:v>Termelétrica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Planilha3!$R$98:$R$121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Planilha3!$T$98:$T$121</c:f>
              <c:numCache>
                <c:formatCode>General</c:formatCode>
                <c:ptCount val="24"/>
                <c:pt idx="0">
                  <c:v>7.3761898599999993</c:v>
                </c:pt>
                <c:pt idx="1">
                  <c:v>10.507250059999999</c:v>
                </c:pt>
                <c:pt idx="2">
                  <c:v>12.793358619999998</c:v>
                </c:pt>
                <c:pt idx="3">
                  <c:v>13.975155219999998</c:v>
                </c:pt>
                <c:pt idx="4">
                  <c:v>17.450949219999998</c:v>
                </c:pt>
                <c:pt idx="5">
                  <c:v>17.66682527</c:v>
                </c:pt>
                <c:pt idx="6">
                  <c:v>18.808608270000001</c:v>
                </c:pt>
                <c:pt idx="7">
                  <c:v>19.431757659999999</c:v>
                </c:pt>
                <c:pt idx="8">
                  <c:v>20.487417559999997</c:v>
                </c:pt>
                <c:pt idx="9">
                  <c:v>23.006487159999999</c:v>
                </c:pt>
                <c:pt idx="10">
                  <c:v>26.535346760000003</c:v>
                </c:pt>
                <c:pt idx="11">
                  <c:v>28.81957718</c:v>
                </c:pt>
                <c:pt idx="12">
                  <c:v>30.407113769999999</c:v>
                </c:pt>
                <c:pt idx="13">
                  <c:v>33.858525110000002</c:v>
                </c:pt>
                <c:pt idx="14">
                  <c:v>35.362687389999998</c:v>
                </c:pt>
                <c:pt idx="15">
                  <c:v>36.137115209999997</c:v>
                </c:pt>
                <c:pt idx="16">
                  <c:v>37.640079410000006</c:v>
                </c:pt>
                <c:pt idx="17">
                  <c:v>38.739239010000006</c:v>
                </c:pt>
                <c:pt idx="18">
                  <c:v>38.884774610000008</c:v>
                </c:pt>
                <c:pt idx="19">
                  <c:v>39.553281110000007</c:v>
                </c:pt>
                <c:pt idx="20">
                  <c:v>41.64262011000001</c:v>
                </c:pt>
                <c:pt idx="21">
                  <c:v>43.917763910000005</c:v>
                </c:pt>
                <c:pt idx="22">
                  <c:v>45.998109210000003</c:v>
                </c:pt>
                <c:pt idx="23">
                  <c:v>46.36727100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F41-4275-9A28-4EB47ABE04C2}"/>
            </c:ext>
          </c:extLst>
        </c:ser>
        <c:ser>
          <c:idx val="2"/>
          <c:order val="3"/>
          <c:tx>
            <c:strRef>
              <c:f>Planilha3!$U$4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Planilha3!$R$98:$R$121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Planilha3!$U$98:$U$121</c:f>
              <c:numCache>
                <c:formatCode>General</c:formatCode>
                <c:ptCount val="24"/>
                <c:pt idx="0">
                  <c:v>0.64</c:v>
                </c:pt>
                <c:pt idx="1">
                  <c:v>1.99</c:v>
                </c:pt>
                <c:pt idx="2">
                  <c:v>1.99</c:v>
                </c:pt>
                <c:pt idx="3">
                  <c:v>1.99</c:v>
                </c:pt>
                <c:pt idx="4">
                  <c:v>1.99</c:v>
                </c:pt>
                <c:pt idx="5">
                  <c:v>1.99</c:v>
                </c:pt>
                <c:pt idx="6">
                  <c:v>1.99</c:v>
                </c:pt>
                <c:pt idx="7">
                  <c:v>1.99</c:v>
                </c:pt>
                <c:pt idx="8">
                  <c:v>1.99</c:v>
                </c:pt>
                <c:pt idx="9">
                  <c:v>1.99</c:v>
                </c:pt>
                <c:pt idx="10">
                  <c:v>1.99</c:v>
                </c:pt>
                <c:pt idx="11">
                  <c:v>1.99</c:v>
                </c:pt>
                <c:pt idx="12">
                  <c:v>1.99</c:v>
                </c:pt>
                <c:pt idx="13">
                  <c:v>1.99</c:v>
                </c:pt>
                <c:pt idx="14">
                  <c:v>1.99</c:v>
                </c:pt>
                <c:pt idx="15">
                  <c:v>1.99</c:v>
                </c:pt>
                <c:pt idx="16">
                  <c:v>1.99</c:v>
                </c:pt>
                <c:pt idx="17">
                  <c:v>1.99</c:v>
                </c:pt>
                <c:pt idx="18">
                  <c:v>1.99</c:v>
                </c:pt>
                <c:pt idx="19">
                  <c:v>1.99</c:v>
                </c:pt>
                <c:pt idx="20">
                  <c:v>1.99</c:v>
                </c:pt>
                <c:pt idx="21">
                  <c:v>1.99</c:v>
                </c:pt>
                <c:pt idx="22">
                  <c:v>1.99</c:v>
                </c:pt>
                <c:pt idx="23">
                  <c:v>1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F41-4275-9A28-4EB47ABE04C2}"/>
            </c:ext>
          </c:extLst>
        </c:ser>
        <c:ser>
          <c:idx val="4"/>
          <c:order val="4"/>
          <c:tx>
            <c:strRef>
              <c:f>Planilha3!$W$4</c:f>
              <c:strCache>
                <c:ptCount val="1"/>
                <c:pt idx="0">
                  <c:v>Eólic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Planilha3!$R$98:$R$121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Planilha3!$W$98:$W$121</c:f>
              <c:numCache>
                <c:formatCode>General</c:formatCode>
                <c:ptCount val="24"/>
                <c:pt idx="0">
                  <c:v>1.9206000000000001E-2</c:v>
                </c:pt>
                <c:pt idx="1">
                  <c:v>1.9206000000000001E-2</c:v>
                </c:pt>
                <c:pt idx="2">
                  <c:v>1.9806000000000001E-2</c:v>
                </c:pt>
                <c:pt idx="3">
                  <c:v>1.9806000000000001E-2</c:v>
                </c:pt>
                <c:pt idx="4">
                  <c:v>2.4605999999999999E-2</c:v>
                </c:pt>
                <c:pt idx="5">
                  <c:v>2.4605999999999999E-2</c:v>
                </c:pt>
                <c:pt idx="6">
                  <c:v>0.232906</c:v>
                </c:pt>
                <c:pt idx="7">
                  <c:v>0.24310599999999999</c:v>
                </c:pt>
                <c:pt idx="8">
                  <c:v>0.33892850000000002</c:v>
                </c:pt>
                <c:pt idx="9">
                  <c:v>0.60375849999999998</c:v>
                </c:pt>
                <c:pt idx="10">
                  <c:v>0.93055849999999996</c:v>
                </c:pt>
                <c:pt idx="11">
                  <c:v>1.5269085</c:v>
                </c:pt>
                <c:pt idx="12">
                  <c:v>1.89535674</c:v>
                </c:pt>
                <c:pt idx="13">
                  <c:v>2.2459137400000002</c:v>
                </c:pt>
                <c:pt idx="14">
                  <c:v>5.024163220000001</c:v>
                </c:pt>
                <c:pt idx="15">
                  <c:v>7.6769382200000003</c:v>
                </c:pt>
                <c:pt idx="16">
                  <c:v>10.31188822</c:v>
                </c:pt>
                <c:pt idx="17">
                  <c:v>12.41655386</c:v>
                </c:pt>
                <c:pt idx="18">
                  <c:v>14.461503860000001</c:v>
                </c:pt>
                <c:pt idx="19">
                  <c:v>15.404063860000001</c:v>
                </c:pt>
                <c:pt idx="20">
                  <c:v>17.15938886</c:v>
                </c:pt>
                <c:pt idx="21">
                  <c:v>20.945023859999999</c:v>
                </c:pt>
                <c:pt idx="22">
                  <c:v>24.128223859999999</c:v>
                </c:pt>
                <c:pt idx="23">
                  <c:v>26.45669785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41-4275-9A28-4EB47ABE04C2}"/>
            </c:ext>
          </c:extLst>
        </c:ser>
        <c:ser>
          <c:idx val="5"/>
          <c:order val="5"/>
          <c:tx>
            <c:strRef>
              <c:f>Planilha3!$X$4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Planilha3!$R$98:$R$121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Planilha3!$X$98:$X$121</c:f>
              <c:numCache>
                <c:formatCode>General</c:formatCode>
                <c:ptCount val="24"/>
                <c:pt idx="0">
                  <c:v>1.5634100000000001E-3</c:v>
                </c:pt>
                <c:pt idx="1">
                  <c:v>1.5991500000000001E-3</c:v>
                </c:pt>
                <c:pt idx="2">
                  <c:v>1.5991500000000001E-3</c:v>
                </c:pt>
                <c:pt idx="3">
                  <c:v>1.5991500000000001E-3</c:v>
                </c:pt>
                <c:pt idx="4">
                  <c:v>1.5991500000000001E-3</c:v>
                </c:pt>
                <c:pt idx="5">
                  <c:v>1.5991500000000001E-3</c:v>
                </c:pt>
                <c:pt idx="6">
                  <c:v>1.5991500000000001E-3</c:v>
                </c:pt>
                <c:pt idx="7">
                  <c:v>1.5991500000000001E-3</c:v>
                </c:pt>
                <c:pt idx="8">
                  <c:v>1.62021E-3</c:v>
                </c:pt>
                <c:pt idx="9">
                  <c:v>1.64821E-3</c:v>
                </c:pt>
                <c:pt idx="10">
                  <c:v>1.64821E-3</c:v>
                </c:pt>
                <c:pt idx="11">
                  <c:v>6.8106700000000004E-3</c:v>
                </c:pt>
                <c:pt idx="12">
                  <c:v>6.8140100000000006E-3</c:v>
                </c:pt>
                <c:pt idx="13">
                  <c:v>1.125984E-2</c:v>
                </c:pt>
                <c:pt idx="14">
                  <c:v>1.6835880000000001E-2</c:v>
                </c:pt>
                <c:pt idx="15">
                  <c:v>2.8311169999999997E-2</c:v>
                </c:pt>
                <c:pt idx="16">
                  <c:v>6.0982470000000004E-2</c:v>
                </c:pt>
                <c:pt idx="17">
                  <c:v>1.0091612299999999</c:v>
                </c:pt>
                <c:pt idx="18">
                  <c:v>1.8426016599999997</c:v>
                </c:pt>
                <c:pt idx="19">
                  <c:v>2.49639984</c:v>
                </c:pt>
                <c:pt idx="20">
                  <c:v>3.31570213</c:v>
                </c:pt>
                <c:pt idx="21">
                  <c:v>4.6724803800000068</c:v>
                </c:pt>
                <c:pt idx="22">
                  <c:v>7.4308518199999165</c:v>
                </c:pt>
                <c:pt idx="23">
                  <c:v>9.73834413999991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F41-4275-9A28-4EB47ABE04C2}"/>
            </c:ext>
          </c:extLst>
        </c:ser>
        <c:ser>
          <c:idx val="6"/>
          <c:order val="6"/>
          <c:tx>
            <c:v>MMGD</c:v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Planilha3!$R$98:$R$121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Planilha3!$Y$98:$Y$121</c:f>
              <c:numCache>
                <c:formatCode>General</c:formatCode>
                <c:ptCount val="24"/>
                <c:pt idx="15">
                  <c:v>0.02</c:v>
                </c:pt>
                <c:pt idx="16">
                  <c:v>8.4000000000000005E-2</c:v>
                </c:pt>
                <c:pt idx="17">
                  <c:v>0.24</c:v>
                </c:pt>
                <c:pt idx="18">
                  <c:v>0.68600000000000005</c:v>
                </c:pt>
                <c:pt idx="19">
                  <c:v>2.3140000000000001</c:v>
                </c:pt>
                <c:pt idx="20">
                  <c:v>5.298</c:v>
                </c:pt>
                <c:pt idx="21">
                  <c:v>10.025</c:v>
                </c:pt>
                <c:pt idx="22">
                  <c:v>18.327000000000002</c:v>
                </c:pt>
                <c:pt idx="23">
                  <c:v>23.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F41-4275-9A28-4EB47ABE04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03004943"/>
        <c:axId val="2091728543"/>
      </c:barChart>
      <c:catAx>
        <c:axId val="1003004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2091728543"/>
        <c:crosses val="autoZero"/>
        <c:auto val="1"/>
        <c:lblAlgn val="ctr"/>
        <c:lblOffset val="100"/>
        <c:noMultiLvlLbl val="0"/>
      </c:catAx>
      <c:valAx>
        <c:axId val="2091728543"/>
        <c:scaling>
          <c:orientation val="minMax"/>
          <c:max val="2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003004943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328</cdr:x>
      <cdr:y>4.94555E-7</cdr:y>
    </cdr:from>
    <cdr:to>
      <cdr:x>0.77855</cdr:x>
      <cdr:y>0.0556</cdr:y>
    </cdr:to>
    <cdr:sp macro="" textlink="">
      <cdr:nvSpPr>
        <cdr:cNvPr id="2" name="Elipse 1">
          <a:extLst xmlns:a="http://schemas.openxmlformats.org/drawingml/2006/main">
            <a:ext uri="{FF2B5EF4-FFF2-40B4-BE49-F238E27FC236}">
              <a16:creationId xmlns:a16="http://schemas.microsoft.com/office/drawing/2014/main" id="{8C2D71B6-A2D1-AC3B-D425-E42D9F9E4C61}"/>
            </a:ext>
          </a:extLst>
        </cdr:cNvPr>
        <cdr:cNvSpPr/>
      </cdr:nvSpPr>
      <cdr:spPr>
        <a:xfrm xmlns:a="http://schemas.openxmlformats.org/drawingml/2006/main">
          <a:off x="6136212" y="1"/>
          <a:ext cx="2830236" cy="112432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rgbClr val="FFFF00"/>
          </a:solidFill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pt-BR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t-BR" sz="1200" dirty="0">
              <a:solidFill>
                <a:srgbClr val="FF0000"/>
              </a:solidFill>
            </a:rPr>
            <a:t>Empréstimo às Distribuidoras</a:t>
          </a:r>
        </a:p>
      </cdr:txBody>
    </cdr:sp>
  </cdr:relSizeAnchor>
  <cdr:relSizeAnchor xmlns:cdr="http://schemas.openxmlformats.org/drawingml/2006/chartDrawing">
    <cdr:from>
      <cdr:x>0.74342</cdr:x>
      <cdr:y>0.12008</cdr:y>
    </cdr:from>
    <cdr:to>
      <cdr:x>0.91254</cdr:x>
      <cdr:y>0.2974</cdr:y>
    </cdr:to>
    <cdr:sp macro="" textlink="">
      <cdr:nvSpPr>
        <cdr:cNvPr id="3" name="Elipse 2">
          <a:extLst xmlns:a="http://schemas.openxmlformats.org/drawingml/2006/main">
            <a:ext uri="{FF2B5EF4-FFF2-40B4-BE49-F238E27FC236}">
              <a16:creationId xmlns:a16="http://schemas.microsoft.com/office/drawing/2014/main" id="{8C2D71B6-A2D1-AC3B-D425-E42D9F9E4C61}"/>
            </a:ext>
          </a:extLst>
        </cdr:cNvPr>
        <cdr:cNvSpPr/>
      </cdr:nvSpPr>
      <cdr:spPr>
        <a:xfrm xmlns:a="http://schemas.openxmlformats.org/drawingml/2006/main">
          <a:off x="8561799" y="242798"/>
          <a:ext cx="1947767" cy="358541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rgbClr val="FFFF00"/>
          </a:solidFill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pt-BR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t-BR" sz="1200" dirty="0">
              <a:solidFill>
                <a:srgbClr val="FF0000"/>
              </a:solidFill>
            </a:rPr>
            <a:t>Conta COVID</a:t>
          </a:r>
        </a:p>
      </cdr:txBody>
    </cdr:sp>
  </cdr:relSizeAnchor>
  <cdr:relSizeAnchor xmlns:cdr="http://schemas.openxmlformats.org/drawingml/2006/chartDrawing">
    <cdr:from>
      <cdr:x>0.83088</cdr:x>
      <cdr:y>0.47822</cdr:y>
    </cdr:from>
    <cdr:to>
      <cdr:x>1</cdr:x>
      <cdr:y>0.65554</cdr:y>
    </cdr:to>
    <cdr:sp macro="" textlink="">
      <cdr:nvSpPr>
        <cdr:cNvPr id="4" name="Elipse 3">
          <a:extLst xmlns:a="http://schemas.openxmlformats.org/drawingml/2006/main">
            <a:ext uri="{FF2B5EF4-FFF2-40B4-BE49-F238E27FC236}">
              <a16:creationId xmlns:a16="http://schemas.microsoft.com/office/drawing/2014/main" id="{8C2D71B6-A2D1-AC3B-D425-E42D9F9E4C61}"/>
            </a:ext>
          </a:extLst>
        </cdr:cNvPr>
        <cdr:cNvSpPr/>
      </cdr:nvSpPr>
      <cdr:spPr>
        <a:xfrm xmlns:a="http://schemas.openxmlformats.org/drawingml/2006/main">
          <a:off x="9569040" y="966974"/>
          <a:ext cx="1947767" cy="358541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rgbClr val="FFFF00"/>
          </a:solidFill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pt-BR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pt-BR" sz="1200" dirty="0">
              <a:solidFill>
                <a:srgbClr val="FF0000"/>
              </a:solidFill>
            </a:rPr>
            <a:t>???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ECD1B9-795B-4402-B21D-CFC2E3760C46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13A39D-669F-4EA2-A3DF-C5C7D3404C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7846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608CB8-CF70-7D42-B195-D3046E37999B}" type="slidenum">
              <a:rPr kumimoji="0" lang="fr-FR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5256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13A39D-669F-4EA2-A3DF-C5C7D3404C7F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9513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ço Reservado para Imagem de Slide 1">
            <a:extLst>
              <a:ext uri="{FF2B5EF4-FFF2-40B4-BE49-F238E27FC236}">
                <a16:creationId xmlns:a16="http://schemas.microsoft.com/office/drawing/2014/main" id="{25FCA2D7-F8C9-8CEA-F0A6-A9F6B3F17FA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Espaço Reservado para Anotações 2">
            <a:extLst>
              <a:ext uri="{FF2B5EF4-FFF2-40B4-BE49-F238E27FC236}">
                <a16:creationId xmlns:a16="http://schemas.microsoft.com/office/drawing/2014/main" id="{DFD0CB03-23E0-A249-71ED-CB3E8A40105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7108" name="Espaço Reservado para Número de Slide 3">
            <a:extLst>
              <a:ext uri="{FF2B5EF4-FFF2-40B4-BE49-F238E27FC236}">
                <a16:creationId xmlns:a16="http://schemas.microsoft.com/office/drawing/2014/main" id="{439BD2EA-EFB1-D9D0-EE77-86D4E41BA7C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1pPr>
            <a:lvl2pPr marL="750888" indent="-287338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2pPr>
            <a:lvl3pPr marL="1154113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3pPr>
            <a:lvl4pPr marL="1617663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4pPr>
            <a:lvl5pPr marL="2079625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5pPr>
            <a:lvl6pPr marL="2536825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6pPr>
            <a:lvl7pPr marL="2994025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7pPr>
            <a:lvl8pPr marL="3451225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8pPr>
            <a:lvl9pPr marL="3908425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9pPr>
          </a:lstStyle>
          <a:p>
            <a:fld id="{BBDEEC66-1831-42C1-BA17-969E4A63B338}" type="slidenum">
              <a:rPr lang="fr-FR" altLang="pt-BR" sz="1200" b="0" smtClean="0">
                <a:solidFill>
                  <a:schemeClr val="tx1"/>
                </a:solidFill>
                <a:latin typeface="Arial" panose="020B0604020202020204" pitchFamily="34" charset="0"/>
              </a:rPr>
              <a:pPr/>
              <a:t>4</a:t>
            </a:fld>
            <a:endParaRPr lang="fr-FR" altLang="pt-BR" sz="1200" b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Qual o dia especifico da imagem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08CB8-CF70-7D42-B195-D3046E37999B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2732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59B5B60-02C4-86E7-542B-C546B1D85E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D180680-0D4E-160F-FC73-152ECD54D3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7B57883-A7F5-03B9-FFD4-0745651C0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6DCE73F-4B14-688B-4142-267EDB105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9A5F018-3E17-467D-4ECB-51059894B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46083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739E59D-8FBF-1FCB-CFE3-D3073E3601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2C2375B-BA4B-2D7B-1E15-2C6C244D81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9D95A5D-EDB7-2672-C837-3AD64645E8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C0C8A1C-5D21-3FFD-1DED-6F0C2CD5C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F8B9A68-4606-62A6-2754-F2B99BAFA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4935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B8EDA65-AEB6-0B53-F3BF-7B343B2EF8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A9B8A2F-08D7-5050-8547-AF59BF1180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6FB74B5-7386-F455-8017-0AED8704B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9BDFB794-B314-1FDC-AFF7-C7CBA2EE2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B38890A-B1B5-A46C-69D3-7747F6446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912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u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0132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3" hidden="1">
            <a:extLst>
              <a:ext uri="{FF2B5EF4-FFF2-40B4-BE49-F238E27FC236}">
                <a16:creationId xmlns:a16="http://schemas.microsoft.com/office/drawing/2014/main" id="{587C2B3C-90A7-813D-15FD-5FE515392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2" name="Objeto 13" hidden="1">
                        <a:extLst>
                          <a:ext uri="{FF2B5EF4-FFF2-40B4-BE49-F238E27FC236}">
                            <a16:creationId xmlns:a16="http://schemas.microsoft.com/office/drawing/2014/main" id="{587C2B3C-90A7-813D-15FD-5FE5153923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pt-BR" noProof="0"/>
              <a:t>Clique para editar os estilos de texto Mestres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  <a:endParaRPr lang="en-US" noProof="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436034" y="333375"/>
            <a:ext cx="11319933" cy="899381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5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5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pt-BR" noProof="0"/>
              <a:t>Clique para editar os estilos de texto Mestres</a:t>
            </a:r>
          </a:p>
          <a:p>
            <a:pPr lvl="1"/>
            <a:r>
              <a:rPr lang="pt-BR" noProof="0"/>
              <a:t>Segundo nível</a:t>
            </a:r>
          </a:p>
        </p:txBody>
      </p:sp>
    </p:spTree>
    <p:extLst>
      <p:ext uri="{BB962C8B-B14F-4D97-AF65-F5344CB8AC3E}">
        <p14:creationId xmlns:p14="http://schemas.microsoft.com/office/powerpoint/2010/main" val="1474286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rgbClr val="003C58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8898" y="1548391"/>
            <a:ext cx="10411720" cy="333425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700"/>
              </a:spcBef>
              <a:buSzPct val="50000"/>
              <a:buFontTx/>
              <a:buNone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99B2560-5A2F-461D-B47C-6917B8C240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6518" y="2926472"/>
            <a:ext cx="5041270" cy="32316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700"/>
              </a:spcBef>
              <a:buSzPct val="50000"/>
              <a:buFontTx/>
              <a:buNone/>
              <a:defRPr sz="1500" spc="5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marR="0" algn="l" rtl="0"/>
            <a:endParaRPr lang="en-US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13EBDC3-786B-4A3D-9938-FAC4F6DAC7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9346" y="2935525"/>
            <a:ext cx="5041271" cy="323165"/>
          </a:xfrm>
        </p:spPr>
        <p:txBody>
          <a:bodyPr/>
          <a:lstStyle>
            <a:lvl1pPr marL="180000" indent="-180000">
              <a:spcBef>
                <a:spcPts val="900"/>
              </a:spcBef>
              <a:buSzPct val="50000"/>
              <a:buFontTx/>
              <a:buBlip>
                <a:blip r:embed="rId2"/>
              </a:buBlip>
              <a:defRPr sz="1500" spc="20" baseline="0"/>
            </a:lvl1pPr>
          </a:lstStyle>
          <a:p>
            <a:pPr lvl="0"/>
            <a:endParaRPr lang="en-US"/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91E773E5-6607-8944-8CA5-6C9C9C069B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90867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985818-553E-84D5-3EB2-7A9BFD1B5DAB}"/>
              </a:ext>
            </a:extLst>
          </p:cNvPr>
          <p:cNvSpPr/>
          <p:nvPr userDrawn="1"/>
        </p:nvSpPr>
        <p:spPr>
          <a:xfrm>
            <a:off x="0" y="0"/>
            <a:ext cx="12192000" cy="68561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fr-FR" sz="1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520CA54-B529-4926-9DB2-5A82C99FD1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-1"/>
            <a:ext cx="12192000" cy="5863847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algn="l">
              <a:defRPr lang="fr-FR" sz="100" dirty="0">
                <a:noFill/>
                <a:latin typeface="+mn-lt"/>
                <a:cs typeface="+mn-cs"/>
              </a:defRPr>
            </a:lvl1pPr>
          </a:lstStyle>
          <a:p>
            <a:pPr lvl="0" algn="ctr"/>
            <a:r>
              <a:rPr lang="fr-FR" dirty="0"/>
              <a:t>A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69DC7EB-93A6-4A20-B9A4-68CC7F3FEF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43200" y="4068000"/>
            <a:ext cx="4852800" cy="40011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Edson Silva</a:t>
            </a:r>
          </a:p>
          <a:p>
            <a:r>
              <a:rPr lang="en-US" dirty="0"/>
              <a:t>CEO de </a:t>
            </a:r>
            <a:r>
              <a:rPr lang="en-US" dirty="0" err="1"/>
              <a:t>Jirau</a:t>
            </a:r>
            <a:r>
              <a:rPr lang="en-US" dirty="0"/>
              <a:t> </a:t>
            </a:r>
          </a:p>
          <a:p>
            <a:r>
              <a:rPr lang="en-US" dirty="0"/>
              <a:t>VP de Energia </a:t>
            </a:r>
            <a:r>
              <a:rPr lang="en-US" dirty="0" err="1"/>
              <a:t>Renovável</a:t>
            </a:r>
            <a:r>
              <a:rPr lang="en-US" dirty="0"/>
              <a:t> – Engie LATAM</a:t>
            </a:r>
            <a:endParaRPr lang="fr-FR" dirty="0"/>
          </a:p>
        </p:txBody>
      </p:sp>
      <p:sp>
        <p:nvSpPr>
          <p:cNvPr id="17" name="Espace réservé du pied de page 16">
            <a:extLst>
              <a:ext uri="{FF2B5EF4-FFF2-40B4-BE49-F238E27FC236}">
                <a16:creationId xmlns:a16="http://schemas.microsoft.com/office/drawing/2014/main" id="{EEA2128C-FC05-4F60-A477-262232A9BB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pPr algn="l"/>
            <a:r>
              <a:rPr lang="en-US"/>
              <a:t>UPs Seminar – Learning By Doing – March 2024</a:t>
            </a:r>
            <a:endParaRPr lang="fr-FR"/>
          </a:p>
        </p:txBody>
      </p:sp>
      <p:sp>
        <p:nvSpPr>
          <p:cNvPr id="18" name="Espace réservé du numéro de diapositive 17">
            <a:extLst>
              <a:ext uri="{FF2B5EF4-FFF2-40B4-BE49-F238E27FC236}">
                <a16:creationId xmlns:a16="http://schemas.microsoft.com/office/drawing/2014/main" id="{8CB8EC3C-180B-49A5-AF16-ACC32ED4D4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r-FR"/>
              <a:t>&lt;N°&gt;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5CE7AA9C-1B7B-4A9A-AE41-CB2320F656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2750" y="6481609"/>
            <a:ext cx="3554412" cy="287075"/>
          </a:xfrm>
          <a:noFill/>
          <a:ln>
            <a:noFill/>
          </a:ln>
        </p:spPr>
        <p:txBody>
          <a:bodyPr anchor="ctr">
            <a:norm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épartement</a:t>
            </a:r>
          </a:p>
        </p:txBody>
      </p:sp>
      <p:sp>
        <p:nvSpPr>
          <p:cNvPr id="21" name="Espace réservé du texte 19">
            <a:extLst>
              <a:ext uri="{FF2B5EF4-FFF2-40B4-BE49-F238E27FC236}">
                <a16:creationId xmlns:a16="http://schemas.microsoft.com/office/drawing/2014/main" id="{17C681B1-8C89-4C42-8047-AF74ABB994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24840" y="6481609"/>
            <a:ext cx="3554412" cy="287075"/>
          </a:xfr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r">
              <a:defRPr lang="fr-FR" sz="1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Date</a:t>
            </a:r>
          </a:p>
        </p:txBody>
      </p:sp>
      <p:cxnSp>
        <p:nvCxnSpPr>
          <p:cNvPr id="15" name="Connecteur droit 20">
            <a:extLst>
              <a:ext uri="{FF2B5EF4-FFF2-40B4-BE49-F238E27FC236}">
                <a16:creationId xmlns:a16="http://schemas.microsoft.com/office/drawing/2014/main" id="{E70C5AF9-DBAD-22DE-259A-A3AB23F4FC3C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noFill/>
          <a:ln w="6350" cap="flat" cmpd="sng" algn="ctr">
            <a:solidFill>
              <a:srgbClr val="003C56"/>
            </a:solidFill>
            <a:prstDash val="solid"/>
            <a:miter lim="800000"/>
          </a:ln>
          <a:effectLst/>
        </p:spPr>
      </p:cxnSp>
      <p:cxnSp>
        <p:nvCxnSpPr>
          <p:cNvPr id="19" name="Connecteur droit 21">
            <a:extLst>
              <a:ext uri="{FF2B5EF4-FFF2-40B4-BE49-F238E27FC236}">
                <a16:creationId xmlns:a16="http://schemas.microsoft.com/office/drawing/2014/main" id="{2BE8F6E2-59ED-0FE4-1B5C-C8CE3B1E80B1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noFill/>
          <a:ln w="6350" cap="flat" cmpd="sng" algn="ctr">
            <a:solidFill>
              <a:srgbClr val="003C56"/>
            </a:solidFill>
            <a:prstDash val="solid"/>
            <a:miter lim="800000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BF24F7A9-B83B-224D-66DD-24D58FEA16BE}"/>
              </a:ext>
            </a:extLst>
          </p:cNvPr>
          <p:cNvSpPr/>
          <p:nvPr userDrawn="1"/>
        </p:nvSpPr>
        <p:spPr>
          <a:xfrm>
            <a:off x="0" y="1344193"/>
            <a:ext cx="4933244" cy="171339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16EABD-AEA3-FC3E-3EA5-014C618D06CB}"/>
              </a:ext>
            </a:extLst>
          </p:cNvPr>
          <p:cNvSpPr/>
          <p:nvPr userDrawn="1"/>
        </p:nvSpPr>
        <p:spPr>
          <a:xfrm>
            <a:off x="0" y="2101306"/>
            <a:ext cx="6677674" cy="171339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1930D2-30DF-93FE-CCCA-490590998D41}"/>
              </a:ext>
            </a:extLst>
          </p:cNvPr>
          <p:cNvSpPr/>
          <p:nvPr userDrawn="1"/>
        </p:nvSpPr>
        <p:spPr>
          <a:xfrm>
            <a:off x="0" y="2858418"/>
            <a:ext cx="8422105" cy="171339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B563E60-B096-4675-BC72-0588A49776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3600" y="1688400"/>
            <a:ext cx="8143906" cy="646331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rise Imininente ou Permanente?</a:t>
            </a:r>
          </a:p>
        </p:txBody>
      </p:sp>
    </p:spTree>
    <p:extLst>
      <p:ext uri="{BB962C8B-B14F-4D97-AF65-F5344CB8AC3E}">
        <p14:creationId xmlns:p14="http://schemas.microsoft.com/office/powerpoint/2010/main" val="24020081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D121857-A052-F94E-8BFC-E3EC8536992A}"/>
              </a:ext>
            </a:extLst>
          </p:cNvPr>
          <p:cNvSpPr/>
          <p:nvPr userDrawn="1"/>
        </p:nvSpPr>
        <p:spPr>
          <a:xfrm>
            <a:off x="397052" y="401283"/>
            <a:ext cx="11397049" cy="6071646"/>
          </a:xfrm>
          <a:prstGeom prst="rect">
            <a:avLst/>
          </a:prstGeom>
          <a:gradFill flip="none" rotWithShape="1">
            <a:gsLst>
              <a:gs pos="100000">
                <a:srgbClr val="00BCFD">
                  <a:lumMod val="100000"/>
                </a:srgbClr>
              </a:gs>
              <a:gs pos="12000">
                <a:srgbClr val="23D2B5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A18F7B5-0E1D-B542-B88B-13F77C1EAC99}"/>
              </a:ext>
            </a:extLst>
          </p:cNvPr>
          <p:cNvGrpSpPr/>
          <p:nvPr userDrawn="1"/>
        </p:nvGrpSpPr>
        <p:grpSpPr>
          <a:xfrm>
            <a:off x="4660055" y="6248453"/>
            <a:ext cx="419945" cy="419945"/>
            <a:chOff x="4609070" y="6174127"/>
            <a:chExt cx="494271" cy="494271"/>
          </a:xfrm>
          <a:solidFill>
            <a:srgbClr val="24C2E7">
              <a:alpha val="42000"/>
            </a:srgbClr>
          </a:solidFill>
        </p:grpSpPr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F710E38D-EDC3-FA4F-83DF-8D627AEF9789}"/>
                </a:ext>
              </a:extLst>
            </p:cNvPr>
            <p:cNvSpPr/>
            <p:nvPr/>
          </p:nvSpPr>
          <p:spPr>
            <a:xfrm>
              <a:off x="4609070" y="6174127"/>
              <a:ext cx="494271" cy="494271"/>
            </a:xfrm>
            <a:prstGeom prst="ellipse">
              <a:avLst/>
            </a:prstGeom>
            <a:solidFill>
              <a:srgbClr val="24C2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05C39667-9EE5-3C46-B7FB-854526B562B1}"/>
                </a:ext>
              </a:extLst>
            </p:cNvPr>
            <p:cNvSpPr/>
            <p:nvPr/>
          </p:nvSpPr>
          <p:spPr>
            <a:xfrm>
              <a:off x="4746139" y="6311196"/>
              <a:ext cx="220133" cy="22013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530D9ADB-0369-A149-B536-E0488CE423B4}"/>
              </a:ext>
            </a:extLst>
          </p:cNvPr>
          <p:cNvGrpSpPr/>
          <p:nvPr userDrawn="1"/>
        </p:nvGrpSpPr>
        <p:grpSpPr>
          <a:xfrm>
            <a:off x="5885605" y="6248453"/>
            <a:ext cx="419945" cy="419945"/>
            <a:chOff x="4609070" y="6174127"/>
            <a:chExt cx="494271" cy="494271"/>
          </a:xfrm>
          <a:solidFill>
            <a:srgbClr val="24C2E7">
              <a:alpha val="42000"/>
            </a:srgbClr>
          </a:solidFill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E8292D3A-879B-2A47-8679-2E1E1791FE2D}"/>
                </a:ext>
              </a:extLst>
            </p:cNvPr>
            <p:cNvSpPr/>
            <p:nvPr/>
          </p:nvSpPr>
          <p:spPr>
            <a:xfrm>
              <a:off x="4609070" y="6174127"/>
              <a:ext cx="494271" cy="494271"/>
            </a:xfrm>
            <a:prstGeom prst="ellipse">
              <a:avLst/>
            </a:prstGeom>
            <a:solidFill>
              <a:srgbClr val="24C2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014635B0-AEC8-C741-AD60-D77C3B5FD87F}"/>
                </a:ext>
              </a:extLst>
            </p:cNvPr>
            <p:cNvSpPr/>
            <p:nvPr/>
          </p:nvSpPr>
          <p:spPr>
            <a:xfrm>
              <a:off x="4746139" y="6311196"/>
              <a:ext cx="220133" cy="22013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6C0D24D2-73E8-5D4C-8AFB-5EBFE1A47183}"/>
              </a:ext>
            </a:extLst>
          </p:cNvPr>
          <p:cNvGrpSpPr/>
          <p:nvPr userDrawn="1"/>
        </p:nvGrpSpPr>
        <p:grpSpPr>
          <a:xfrm>
            <a:off x="7104805" y="6248453"/>
            <a:ext cx="419945" cy="419945"/>
            <a:chOff x="4609070" y="6174127"/>
            <a:chExt cx="494271" cy="494271"/>
          </a:xfrm>
          <a:solidFill>
            <a:srgbClr val="24C2E7">
              <a:alpha val="42000"/>
            </a:srgbClr>
          </a:solidFill>
        </p:grpSpPr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F0F8CBF2-5A1B-A44B-94E3-F9093160842E}"/>
                </a:ext>
              </a:extLst>
            </p:cNvPr>
            <p:cNvSpPr/>
            <p:nvPr/>
          </p:nvSpPr>
          <p:spPr>
            <a:xfrm>
              <a:off x="4609070" y="6174127"/>
              <a:ext cx="494271" cy="494271"/>
            </a:xfrm>
            <a:prstGeom prst="ellipse">
              <a:avLst/>
            </a:prstGeom>
            <a:solidFill>
              <a:srgbClr val="24C2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9E1F1ACA-9D2B-2446-9183-6782AED15DDF}"/>
                </a:ext>
              </a:extLst>
            </p:cNvPr>
            <p:cNvSpPr/>
            <p:nvPr/>
          </p:nvSpPr>
          <p:spPr>
            <a:xfrm>
              <a:off x="4746139" y="6311196"/>
              <a:ext cx="220133" cy="22013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3" name="ZoneTexte 22">
            <a:extLst>
              <a:ext uri="{FF2B5EF4-FFF2-40B4-BE49-F238E27FC236}">
                <a16:creationId xmlns:a16="http://schemas.microsoft.com/office/drawing/2014/main" id="{3D933291-E105-AE4A-92E3-2EB916112BF1}"/>
              </a:ext>
            </a:extLst>
          </p:cNvPr>
          <p:cNvSpPr txBox="1"/>
          <p:nvPr userDrawn="1"/>
        </p:nvSpPr>
        <p:spPr>
          <a:xfrm>
            <a:off x="4355869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EINT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86357EDE-F8A6-F443-9B8D-CDE73D61CEC1}"/>
              </a:ext>
            </a:extLst>
          </p:cNvPr>
          <p:cNvSpPr txBox="1"/>
          <p:nvPr userDrawn="1"/>
        </p:nvSpPr>
        <p:spPr>
          <a:xfrm>
            <a:off x="5594465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CF9BCEED-06D5-1749-B492-8AA53A07AD61}"/>
              </a:ext>
            </a:extLst>
          </p:cNvPr>
          <p:cNvSpPr txBox="1"/>
          <p:nvPr userDrawn="1"/>
        </p:nvSpPr>
        <p:spPr>
          <a:xfrm>
            <a:off x="6758246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FC1216F5-5582-C143-9A86-78019EE6F156}"/>
              </a:ext>
            </a:extLst>
          </p:cNvPr>
          <p:cNvCxnSpPr>
            <a:cxnSpLocks/>
          </p:cNvCxnSpPr>
          <p:nvPr userDrawn="1"/>
        </p:nvCxnSpPr>
        <p:spPr>
          <a:xfrm>
            <a:off x="5473959" y="5946709"/>
            <a:ext cx="0" cy="19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AFDCDA9B-3935-594F-A368-545B2A7DF986}"/>
              </a:ext>
            </a:extLst>
          </p:cNvPr>
          <p:cNvCxnSpPr>
            <a:cxnSpLocks/>
          </p:cNvCxnSpPr>
          <p:nvPr userDrawn="1"/>
        </p:nvCxnSpPr>
        <p:spPr>
          <a:xfrm>
            <a:off x="6705034" y="5946709"/>
            <a:ext cx="0" cy="19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9A69F975-04D1-3842-AD03-63BE37ED6B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5601" y="3084015"/>
            <a:ext cx="4679950" cy="1271588"/>
          </a:xfrm>
        </p:spPr>
        <p:txBody>
          <a:bodyPr>
            <a:noAutofit/>
          </a:bodyPr>
          <a:lstStyle>
            <a:lvl1pPr marL="0" indent="0" algn="ctr">
              <a:lnSpc>
                <a:spcPts val="3540"/>
              </a:lnSpc>
              <a:buNone/>
              <a:defRPr sz="4700" b="1" i="0">
                <a:solidFill>
                  <a:srgbClr val="353A3D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Titre de la</a:t>
            </a:r>
          </a:p>
          <a:p>
            <a:pPr lvl="0"/>
            <a:r>
              <a:rPr lang="fr-FR"/>
              <a:t>Présentation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2731F205-A66A-0B40-9E17-B9D466167B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7780" y="4357782"/>
            <a:ext cx="3002626" cy="430212"/>
          </a:xfrm>
        </p:spPr>
        <p:txBody>
          <a:bodyPr>
            <a:noAutofit/>
          </a:bodyPr>
          <a:lstStyle>
            <a:lvl1pPr marL="0" indent="0" algn="ctr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Lorem</a:t>
            </a:r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40226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598D3DA-BA34-024E-90BB-6ECC57507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21806" y="2410674"/>
            <a:ext cx="3740150" cy="755650"/>
          </a:xfrm>
        </p:spPr>
        <p:txBody>
          <a:bodyPr>
            <a:normAutofit/>
          </a:bodyPr>
          <a:lstStyle>
            <a:lvl1pPr marL="0" indent="0" algn="ctr">
              <a:buNone/>
              <a:defRPr sz="4000" b="1" i="0" spc="-120" baseline="0">
                <a:solidFill>
                  <a:srgbClr val="00BCF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Introduction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8298B14-D926-8947-8DC3-6D32333B02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0618" y="3207063"/>
            <a:ext cx="4962525" cy="1562100"/>
          </a:xfrm>
        </p:spPr>
        <p:txBody>
          <a:bodyPr>
            <a:noAutofit/>
          </a:bodyPr>
          <a:lstStyle>
            <a:lvl1pPr marL="0" indent="0" algn="ctr">
              <a:buNone/>
              <a:defRPr sz="1800" b="1" i="0">
                <a:solidFill>
                  <a:srgbClr val="353A3D">
                    <a:alpha val="6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</a:t>
            </a:r>
            <a:r>
              <a:rPr lang="fr-FR" err="1"/>
              <a:t>diam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438579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 38">
            <a:extLst>
              <a:ext uri="{FF2B5EF4-FFF2-40B4-BE49-F238E27FC236}">
                <a16:creationId xmlns:a16="http://schemas.microsoft.com/office/drawing/2014/main" id="{08EF287F-E863-9C42-BE36-0810CF78FB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307" y="1314713"/>
            <a:ext cx="1885385" cy="68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6235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1292AAA-14D4-4A42-AF0B-9019287571DE}"/>
              </a:ext>
            </a:extLst>
          </p:cNvPr>
          <p:cNvSpPr/>
          <p:nvPr userDrawn="1"/>
        </p:nvSpPr>
        <p:spPr>
          <a:xfrm>
            <a:off x="397052" y="401283"/>
            <a:ext cx="11397049" cy="6071646"/>
          </a:xfrm>
          <a:prstGeom prst="rect">
            <a:avLst/>
          </a:prstGeom>
          <a:gradFill flip="none" rotWithShape="1">
            <a:gsLst>
              <a:gs pos="100000">
                <a:srgbClr val="00BCFD">
                  <a:lumMod val="100000"/>
                </a:srgbClr>
              </a:gs>
              <a:gs pos="12000">
                <a:srgbClr val="23D2B5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space réservé du texte 28">
            <a:extLst>
              <a:ext uri="{FF2B5EF4-FFF2-40B4-BE49-F238E27FC236}">
                <a16:creationId xmlns:a16="http://schemas.microsoft.com/office/drawing/2014/main" id="{5CF7BE68-3FE6-AF41-B459-6A8A765C5B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7052" y="4750890"/>
            <a:ext cx="11397049" cy="1271588"/>
          </a:xfrm>
        </p:spPr>
        <p:txBody>
          <a:bodyPr>
            <a:noAutofit/>
          </a:bodyPr>
          <a:lstStyle>
            <a:lvl1pPr marL="0" indent="0" algn="ctr">
              <a:lnSpc>
                <a:spcPts val="3540"/>
              </a:lnSpc>
              <a:buNone/>
              <a:defRPr sz="36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 noProof="0"/>
              <a:t>Title of the chapter </a:t>
            </a:r>
          </a:p>
        </p:txBody>
      </p:sp>
      <p:sp>
        <p:nvSpPr>
          <p:cNvPr id="23" name="Espace réservé du texte 97">
            <a:extLst>
              <a:ext uri="{FF2B5EF4-FFF2-40B4-BE49-F238E27FC236}">
                <a16:creationId xmlns:a16="http://schemas.microsoft.com/office/drawing/2014/main" id="{A56D0E4E-E397-4842-9D18-6D522BA346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45978" y="2261537"/>
            <a:ext cx="2709862" cy="2330450"/>
          </a:xfrm>
        </p:spPr>
        <p:txBody>
          <a:bodyPr>
            <a:noAutofit/>
          </a:bodyPr>
          <a:lstStyle>
            <a:lvl1pPr marL="0" indent="0" algn="ctr">
              <a:buNone/>
              <a:defRPr sz="18000" b="1" i="0">
                <a:ln>
                  <a:solidFill>
                    <a:schemeClr val="bg1"/>
                  </a:solidFill>
                </a:ln>
                <a:noFill/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793417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7E89F31-1530-14E1-8025-9051C1E7F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8613DED-FDD2-FFA9-AA78-6E7A0F618D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A04B860-6664-9CB9-3A5D-77B744808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F018EBE-12A9-A285-F979-34259BAD8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26BB38A-FEF9-8CF2-20A5-B552F3DAF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3912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s_textes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90">
            <a:extLst>
              <a:ext uri="{FF2B5EF4-FFF2-40B4-BE49-F238E27FC236}">
                <a16:creationId xmlns:a16="http://schemas.microsoft.com/office/drawing/2014/main" id="{23019B04-08C2-1C41-8B6C-D3D699C1E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55" y="710624"/>
            <a:ext cx="6721150" cy="499038"/>
          </a:xfrm>
          <a:noFill/>
        </p:spPr>
        <p:txBody>
          <a:bodyPr>
            <a:noAutofit/>
          </a:bodyPr>
          <a:lstStyle>
            <a:lvl1pPr marL="0" indent="0">
              <a:buNone/>
              <a:defRPr sz="3200" b="1" i="0">
                <a:gradFill flip="none" rotWithShape="1">
                  <a:gsLst>
                    <a:gs pos="0">
                      <a:srgbClr val="23D2B5"/>
                    </a:gs>
                    <a:gs pos="100000">
                      <a:srgbClr val="00BCF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>
                <a:solidFill>
                  <a:srgbClr val="23D2B5"/>
                </a:solidFill>
              </a:defRPr>
            </a:lvl2pPr>
            <a:lvl3pPr>
              <a:defRPr sz="2400">
                <a:solidFill>
                  <a:srgbClr val="23D2B5"/>
                </a:solidFill>
              </a:defRPr>
            </a:lvl3pPr>
            <a:lvl4pPr>
              <a:defRPr sz="2000">
                <a:solidFill>
                  <a:srgbClr val="23D2B5"/>
                </a:solidFill>
              </a:defRPr>
            </a:lvl4pPr>
            <a:lvl5pPr>
              <a:defRPr sz="2000">
                <a:solidFill>
                  <a:srgbClr val="23D2B5"/>
                </a:solidFill>
              </a:defRPr>
            </a:lvl5pPr>
          </a:lstStyle>
          <a:p>
            <a:pPr lvl="0"/>
            <a:r>
              <a:rPr lang="fr-FR"/>
              <a:t>Titre de Page</a:t>
            </a:r>
          </a:p>
        </p:txBody>
      </p:sp>
      <p:sp>
        <p:nvSpPr>
          <p:cNvPr id="12" name="Espace réservé du texte 95">
            <a:extLst>
              <a:ext uri="{FF2B5EF4-FFF2-40B4-BE49-F238E27FC236}">
                <a16:creationId xmlns:a16="http://schemas.microsoft.com/office/drawing/2014/main" id="{CA2C5C2D-DAC2-984B-9CF8-D3CCD73AF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55" y="1147798"/>
            <a:ext cx="6721151" cy="5146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BCFD"/>
                </a:solidFill>
              </a:defRPr>
            </a:lvl1pPr>
          </a:lstStyle>
          <a:p>
            <a:pPr lvl="0"/>
            <a:r>
              <a:rPr lang="fr-FR"/>
              <a:t>Sous 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9C1CE0E-D494-694D-AC9C-644118BE29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438" y="1924050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/>
            </a:lvl1pPr>
          </a:lstStyle>
          <a:p>
            <a:pPr lvl="0"/>
            <a:r>
              <a:rPr lang="fr-FR"/>
              <a:t>Texte de niveau 1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8B7F02C-4B3F-044A-BB70-9DE46276B0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38" y="2638425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1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3051B35E-F29C-3E42-8E3E-BC9E769CC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6438" y="3467100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/>
            </a:lvl1pPr>
          </a:lstStyle>
          <a:p>
            <a:pPr lvl="0"/>
            <a:r>
              <a:rPr lang="fr-FR"/>
              <a:t>Texte de niveau 2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7" name="Espace réservé du texte 14">
            <a:extLst>
              <a:ext uri="{FF2B5EF4-FFF2-40B4-BE49-F238E27FC236}">
                <a16:creationId xmlns:a16="http://schemas.microsoft.com/office/drawing/2014/main" id="{A9BDD683-A111-084A-B144-3D6B28A4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6438" y="4082341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2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8035F49-AA1D-A749-927E-000334F62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6438" y="4840459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 b="1"/>
            </a:lvl1pPr>
          </a:lstStyle>
          <a:p>
            <a:pPr lvl="0"/>
            <a:r>
              <a:rPr lang="fr-FR"/>
              <a:t>Texte de niveau 3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9" name="Espace réservé du texte 14">
            <a:extLst>
              <a:ext uri="{FF2B5EF4-FFF2-40B4-BE49-F238E27FC236}">
                <a16:creationId xmlns:a16="http://schemas.microsoft.com/office/drawing/2014/main" id="{DD652048-E439-5F47-8BEF-D5A7D0A9FD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438" y="5403370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3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25268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ages_textes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90">
            <a:extLst>
              <a:ext uri="{FF2B5EF4-FFF2-40B4-BE49-F238E27FC236}">
                <a16:creationId xmlns:a16="http://schemas.microsoft.com/office/drawing/2014/main" id="{23019B04-08C2-1C41-8B6C-D3D699C1E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55" y="710624"/>
            <a:ext cx="6721150" cy="499038"/>
          </a:xfrm>
          <a:noFill/>
        </p:spPr>
        <p:txBody>
          <a:bodyPr>
            <a:noAutofit/>
          </a:bodyPr>
          <a:lstStyle>
            <a:lvl1pPr marL="0" indent="0">
              <a:buNone/>
              <a:defRPr sz="3200" b="1" i="0">
                <a:solidFill>
                  <a:srgbClr val="72D1B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>
                <a:solidFill>
                  <a:srgbClr val="23D2B5"/>
                </a:solidFill>
              </a:defRPr>
            </a:lvl2pPr>
            <a:lvl3pPr>
              <a:defRPr sz="2400">
                <a:solidFill>
                  <a:srgbClr val="23D2B5"/>
                </a:solidFill>
              </a:defRPr>
            </a:lvl3pPr>
            <a:lvl4pPr>
              <a:defRPr sz="2000">
                <a:solidFill>
                  <a:srgbClr val="23D2B5"/>
                </a:solidFill>
              </a:defRPr>
            </a:lvl4pPr>
            <a:lvl5pPr>
              <a:defRPr sz="2000">
                <a:solidFill>
                  <a:srgbClr val="23D2B5"/>
                </a:solidFill>
              </a:defRPr>
            </a:lvl5pPr>
          </a:lstStyle>
          <a:p>
            <a:pPr lvl="0"/>
            <a:r>
              <a:rPr lang="fr-FR"/>
              <a:t>Titre de Page</a:t>
            </a:r>
          </a:p>
        </p:txBody>
      </p:sp>
      <p:sp>
        <p:nvSpPr>
          <p:cNvPr id="12" name="Espace réservé du texte 95">
            <a:extLst>
              <a:ext uri="{FF2B5EF4-FFF2-40B4-BE49-F238E27FC236}">
                <a16:creationId xmlns:a16="http://schemas.microsoft.com/office/drawing/2014/main" id="{CA2C5C2D-DAC2-984B-9CF8-D3CCD73AF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55" y="1147798"/>
            <a:ext cx="6721151" cy="5146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72D1B1"/>
                </a:solidFill>
              </a:defRPr>
            </a:lvl1pPr>
          </a:lstStyle>
          <a:p>
            <a:pPr lvl="0"/>
            <a:r>
              <a:rPr lang="fr-FR"/>
              <a:t>Sous 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9C1CE0E-D494-694D-AC9C-644118BE29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438" y="1924050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/>
            </a:lvl1pPr>
          </a:lstStyle>
          <a:p>
            <a:pPr lvl="0"/>
            <a:r>
              <a:rPr lang="fr-FR"/>
              <a:t>Texte de niveau 1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8B7F02C-4B3F-044A-BB70-9DE46276B0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38" y="2638425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500" b="0" i="0">
                <a:solidFill>
                  <a:srgbClr val="72D1B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1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3051B35E-F29C-3E42-8E3E-BC9E769CC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6438" y="3467100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/>
            </a:lvl1pPr>
          </a:lstStyle>
          <a:p>
            <a:pPr lvl="0"/>
            <a:r>
              <a:rPr lang="fr-FR"/>
              <a:t>Texte de niveau 2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7" name="Espace réservé du texte 14">
            <a:extLst>
              <a:ext uri="{FF2B5EF4-FFF2-40B4-BE49-F238E27FC236}">
                <a16:creationId xmlns:a16="http://schemas.microsoft.com/office/drawing/2014/main" id="{A9BDD683-A111-084A-B144-3D6B28A4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6438" y="4082341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200" b="0" i="0">
                <a:solidFill>
                  <a:srgbClr val="72D1B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2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8035F49-AA1D-A749-927E-000334F62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6438" y="4840459"/>
            <a:ext cx="10666412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 b="1"/>
            </a:lvl1pPr>
          </a:lstStyle>
          <a:p>
            <a:pPr lvl="0"/>
            <a:r>
              <a:rPr lang="fr-FR"/>
              <a:t>Texte de niveau 3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br>
              <a:rPr lang="fr-FR"/>
            </a:b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9" name="Espace réservé du texte 14">
            <a:extLst>
              <a:ext uri="{FF2B5EF4-FFF2-40B4-BE49-F238E27FC236}">
                <a16:creationId xmlns:a16="http://schemas.microsoft.com/office/drawing/2014/main" id="{DD652048-E439-5F47-8BEF-D5A7D0A9FD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438" y="5403370"/>
            <a:ext cx="10666412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100" b="0" i="0">
                <a:solidFill>
                  <a:srgbClr val="72D1B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3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16269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ages_textes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90">
            <a:extLst>
              <a:ext uri="{FF2B5EF4-FFF2-40B4-BE49-F238E27FC236}">
                <a16:creationId xmlns:a16="http://schemas.microsoft.com/office/drawing/2014/main" id="{23019B04-08C2-1C41-8B6C-D3D699C1E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55" y="710624"/>
            <a:ext cx="5589270" cy="499038"/>
          </a:xfrm>
          <a:noFill/>
        </p:spPr>
        <p:txBody>
          <a:bodyPr>
            <a:noAutofit/>
          </a:bodyPr>
          <a:lstStyle>
            <a:lvl1pPr marL="0" indent="0">
              <a:buNone/>
              <a:defRPr sz="3200" b="1" i="0">
                <a:gradFill flip="none" rotWithShape="1">
                  <a:gsLst>
                    <a:gs pos="0">
                      <a:srgbClr val="23D2B5"/>
                    </a:gs>
                    <a:gs pos="100000">
                      <a:srgbClr val="00BCF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>
                <a:solidFill>
                  <a:srgbClr val="23D2B5"/>
                </a:solidFill>
              </a:defRPr>
            </a:lvl2pPr>
            <a:lvl3pPr>
              <a:defRPr sz="2400">
                <a:solidFill>
                  <a:srgbClr val="23D2B5"/>
                </a:solidFill>
              </a:defRPr>
            </a:lvl3pPr>
            <a:lvl4pPr>
              <a:defRPr sz="2000">
                <a:solidFill>
                  <a:srgbClr val="23D2B5"/>
                </a:solidFill>
              </a:defRPr>
            </a:lvl4pPr>
            <a:lvl5pPr>
              <a:defRPr sz="2000">
                <a:solidFill>
                  <a:srgbClr val="23D2B5"/>
                </a:solidFill>
              </a:defRPr>
            </a:lvl5pPr>
          </a:lstStyle>
          <a:p>
            <a:pPr lvl="0"/>
            <a:r>
              <a:rPr lang="fr-FR"/>
              <a:t>Titre de Page</a:t>
            </a:r>
          </a:p>
        </p:txBody>
      </p:sp>
      <p:sp>
        <p:nvSpPr>
          <p:cNvPr id="12" name="Espace réservé du texte 95">
            <a:extLst>
              <a:ext uri="{FF2B5EF4-FFF2-40B4-BE49-F238E27FC236}">
                <a16:creationId xmlns:a16="http://schemas.microsoft.com/office/drawing/2014/main" id="{CA2C5C2D-DAC2-984B-9CF8-D3CCD73AF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56" y="1147798"/>
            <a:ext cx="5589270" cy="5146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BCFD"/>
                </a:solidFill>
              </a:defRPr>
            </a:lvl1pPr>
          </a:lstStyle>
          <a:p>
            <a:pPr lvl="0"/>
            <a:r>
              <a:rPr lang="fr-FR"/>
              <a:t>Sous 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9C1CE0E-D494-694D-AC9C-644118BE29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438" y="1924050"/>
            <a:ext cx="5589587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/>
            </a:lvl1pPr>
          </a:lstStyle>
          <a:p>
            <a:pPr lvl="0"/>
            <a:r>
              <a:rPr lang="fr-FR"/>
              <a:t>Texte de niveau 1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8B7F02C-4B3F-044A-BB70-9DE46276B0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38" y="2724133"/>
            <a:ext cx="5589587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5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1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endParaRPr lang="fr-FR"/>
          </a:p>
        </p:txBody>
      </p:sp>
      <p:sp>
        <p:nvSpPr>
          <p:cNvPr id="16" name="Espace réservé du texte 4">
            <a:extLst>
              <a:ext uri="{FF2B5EF4-FFF2-40B4-BE49-F238E27FC236}">
                <a16:creationId xmlns:a16="http://schemas.microsoft.com/office/drawing/2014/main" id="{3051B35E-F29C-3E42-8E3E-BC9E769CCF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6438" y="3467100"/>
            <a:ext cx="5589587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/>
            </a:lvl1pPr>
          </a:lstStyle>
          <a:p>
            <a:pPr lvl="0"/>
            <a:r>
              <a:rPr lang="fr-FR"/>
              <a:t>Texte de niveau 2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7" name="Espace réservé du texte 14">
            <a:extLst>
              <a:ext uri="{FF2B5EF4-FFF2-40B4-BE49-F238E27FC236}">
                <a16:creationId xmlns:a16="http://schemas.microsoft.com/office/drawing/2014/main" id="{A9BDD683-A111-084A-B144-3D6B28A446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6438" y="4194792"/>
            <a:ext cx="5589587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2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endParaRPr lang="fr-FR"/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8035F49-AA1D-A749-927E-000334F62D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6438" y="4840459"/>
            <a:ext cx="5589587" cy="7143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200" b="1"/>
            </a:lvl1pPr>
          </a:lstStyle>
          <a:p>
            <a:pPr lvl="0"/>
            <a:r>
              <a:rPr lang="fr-FR"/>
              <a:t>Texte de niveau 3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9" name="Espace réservé du texte 14">
            <a:extLst>
              <a:ext uri="{FF2B5EF4-FFF2-40B4-BE49-F238E27FC236}">
                <a16:creationId xmlns:a16="http://schemas.microsoft.com/office/drawing/2014/main" id="{DD652048-E439-5F47-8BEF-D5A7D0A9FD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6438" y="5403370"/>
            <a:ext cx="5589587" cy="42862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buFontTx/>
              <a:buBlip>
                <a:blip r:embed="rId2"/>
              </a:buBlip>
              <a:defRPr sz="11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Bullet Point de niveau 3 :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1ED14196-8E0C-DB46-A86C-C107665B0CC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534150" y="790575"/>
            <a:ext cx="4940231" cy="52387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41626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ages_textes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90">
            <a:extLst>
              <a:ext uri="{FF2B5EF4-FFF2-40B4-BE49-F238E27FC236}">
                <a16:creationId xmlns:a16="http://schemas.microsoft.com/office/drawing/2014/main" id="{23019B04-08C2-1C41-8B6C-D3D699C1E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55" y="710624"/>
            <a:ext cx="5589270" cy="499038"/>
          </a:xfrm>
          <a:noFill/>
        </p:spPr>
        <p:txBody>
          <a:bodyPr>
            <a:noAutofit/>
          </a:bodyPr>
          <a:lstStyle>
            <a:lvl1pPr marL="0" indent="0">
              <a:buNone/>
              <a:defRPr sz="3200" b="1" i="0">
                <a:gradFill flip="none" rotWithShape="1">
                  <a:gsLst>
                    <a:gs pos="0">
                      <a:srgbClr val="23D2B5"/>
                    </a:gs>
                    <a:gs pos="100000">
                      <a:srgbClr val="00BCF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>
                <a:solidFill>
                  <a:srgbClr val="23D2B5"/>
                </a:solidFill>
              </a:defRPr>
            </a:lvl2pPr>
            <a:lvl3pPr>
              <a:defRPr sz="2400">
                <a:solidFill>
                  <a:srgbClr val="23D2B5"/>
                </a:solidFill>
              </a:defRPr>
            </a:lvl3pPr>
            <a:lvl4pPr>
              <a:defRPr sz="2000">
                <a:solidFill>
                  <a:srgbClr val="23D2B5"/>
                </a:solidFill>
              </a:defRPr>
            </a:lvl4pPr>
            <a:lvl5pPr>
              <a:defRPr sz="2000">
                <a:solidFill>
                  <a:srgbClr val="23D2B5"/>
                </a:solidFill>
              </a:defRPr>
            </a:lvl5pPr>
          </a:lstStyle>
          <a:p>
            <a:pPr lvl="0"/>
            <a:r>
              <a:rPr lang="fr-FR"/>
              <a:t>Titre de Page</a:t>
            </a:r>
          </a:p>
        </p:txBody>
      </p:sp>
      <p:sp>
        <p:nvSpPr>
          <p:cNvPr id="12" name="Espace réservé du texte 95">
            <a:extLst>
              <a:ext uri="{FF2B5EF4-FFF2-40B4-BE49-F238E27FC236}">
                <a16:creationId xmlns:a16="http://schemas.microsoft.com/office/drawing/2014/main" id="{CA2C5C2D-DAC2-984B-9CF8-D3CCD73AF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56" y="1147798"/>
            <a:ext cx="5589270" cy="5146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BCFD"/>
                </a:solidFill>
              </a:defRPr>
            </a:lvl1pPr>
          </a:lstStyle>
          <a:p>
            <a:pPr lvl="0"/>
            <a:r>
              <a:rPr lang="fr-FR"/>
              <a:t>Sous Titre</a:t>
            </a:r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1ED14196-8E0C-DB46-A86C-C107665B0CC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5888" y="1746032"/>
            <a:ext cx="10576012" cy="426184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554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9572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s_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90">
            <a:extLst>
              <a:ext uri="{FF2B5EF4-FFF2-40B4-BE49-F238E27FC236}">
                <a16:creationId xmlns:a16="http://schemas.microsoft.com/office/drawing/2014/main" id="{23019B04-08C2-1C41-8B6C-D3D699C1E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55" y="710624"/>
            <a:ext cx="6721150" cy="49903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3200" b="1" i="0">
                <a:gradFill flip="none" rotWithShape="1">
                  <a:gsLst>
                    <a:gs pos="0">
                      <a:srgbClr val="23D2B5"/>
                    </a:gs>
                    <a:gs pos="100000">
                      <a:srgbClr val="00BCF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>
                <a:solidFill>
                  <a:srgbClr val="23D2B5"/>
                </a:solidFill>
              </a:defRPr>
            </a:lvl2pPr>
            <a:lvl3pPr>
              <a:defRPr sz="2400">
                <a:solidFill>
                  <a:srgbClr val="23D2B5"/>
                </a:solidFill>
              </a:defRPr>
            </a:lvl3pPr>
            <a:lvl4pPr>
              <a:defRPr sz="2000">
                <a:solidFill>
                  <a:srgbClr val="23D2B5"/>
                </a:solidFill>
              </a:defRPr>
            </a:lvl4pPr>
            <a:lvl5pPr>
              <a:defRPr sz="2000">
                <a:solidFill>
                  <a:srgbClr val="23D2B5"/>
                </a:solidFill>
              </a:defRPr>
            </a:lvl5pPr>
          </a:lstStyle>
          <a:p>
            <a:pPr lvl="0"/>
            <a:r>
              <a:rPr lang="fr-FR"/>
              <a:t>Page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2" name="Espace réservé du texte 95">
            <a:extLst>
              <a:ext uri="{FF2B5EF4-FFF2-40B4-BE49-F238E27FC236}">
                <a16:creationId xmlns:a16="http://schemas.microsoft.com/office/drawing/2014/main" id="{CA2C5C2D-DAC2-984B-9CF8-D3CCD73AF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55" y="1229859"/>
            <a:ext cx="6721151" cy="5146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BCFD"/>
                </a:solidFill>
              </a:defRPr>
            </a:lvl1pPr>
          </a:lstStyle>
          <a:p>
            <a:pPr lvl="0"/>
            <a:r>
              <a:rPr lang="fr-FR" err="1"/>
              <a:t>Subtitle</a:t>
            </a:r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9C1CE0E-D494-694D-AC9C-644118BE29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6438" y="1924050"/>
            <a:ext cx="10666412" cy="71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1"/>
            </a:lvl1pPr>
          </a:lstStyle>
          <a:p>
            <a:pPr lvl="0"/>
            <a:r>
              <a:rPr lang="fr-FR" err="1"/>
              <a:t>Level</a:t>
            </a:r>
            <a:r>
              <a:rPr lang="fr-FR"/>
              <a:t> 1 </a:t>
            </a:r>
            <a:r>
              <a:rPr lang="fr-FR" err="1"/>
              <a:t>Text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</a:t>
            </a:r>
            <a:endParaRPr lang="fr-FR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C48A1921-AFA9-E04A-8FB4-130051FC54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6438" y="2650294"/>
            <a:ext cx="10666412" cy="3497081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3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l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 Bullet: 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d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am 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nummy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bh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ismod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ncidunt</a:t>
            </a: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t </a:t>
            </a:r>
            <a:r>
              <a:rPr kumimoji="0" lang="fr-FR" sz="16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oreet</a:t>
            </a: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l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 Bullet: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d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am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nummy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bh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ismod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ncidunt</a:t>
            </a: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t </a:t>
            </a:r>
            <a:r>
              <a:rPr kumimoji="0" lang="fr-FR" sz="14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oreet</a:t>
            </a:r>
            <a:endParaRPr kumimoji="0" lang="fr-FR" sz="14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l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 Bullet: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am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nummy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bh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uismod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ncidunt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t </a:t>
            </a:r>
            <a:r>
              <a:rPr kumimoji="0" lang="fr-FR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oreet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2011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s_picture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87A80DA-C2B7-8948-A3E7-072C4F66BF5F}"/>
              </a:ext>
            </a:extLst>
          </p:cNvPr>
          <p:cNvSpPr/>
          <p:nvPr userDrawn="1"/>
        </p:nvSpPr>
        <p:spPr>
          <a:xfrm>
            <a:off x="395415" y="395415"/>
            <a:ext cx="11397049" cy="6071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90">
            <a:extLst>
              <a:ext uri="{FF2B5EF4-FFF2-40B4-BE49-F238E27FC236}">
                <a16:creationId xmlns:a16="http://schemas.microsoft.com/office/drawing/2014/main" id="{23019B04-08C2-1C41-8B6C-D3D699C1ED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755" y="710624"/>
            <a:ext cx="5589270" cy="499038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3200" b="1" i="0">
                <a:gradFill flip="none" rotWithShape="1">
                  <a:gsLst>
                    <a:gs pos="0">
                      <a:srgbClr val="23D2B5"/>
                    </a:gs>
                    <a:gs pos="100000">
                      <a:srgbClr val="00BCFD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>
              <a:defRPr sz="2800">
                <a:solidFill>
                  <a:srgbClr val="23D2B5"/>
                </a:solidFill>
              </a:defRPr>
            </a:lvl2pPr>
            <a:lvl3pPr>
              <a:defRPr sz="2400">
                <a:solidFill>
                  <a:srgbClr val="23D2B5"/>
                </a:solidFill>
              </a:defRPr>
            </a:lvl3pPr>
            <a:lvl4pPr>
              <a:defRPr sz="2000">
                <a:solidFill>
                  <a:srgbClr val="23D2B5"/>
                </a:solidFill>
              </a:defRPr>
            </a:lvl4pPr>
            <a:lvl5pPr>
              <a:defRPr sz="2000">
                <a:solidFill>
                  <a:srgbClr val="23D2B5"/>
                </a:solidFill>
              </a:defRPr>
            </a:lvl5pPr>
          </a:lstStyle>
          <a:p>
            <a:pPr lvl="0"/>
            <a:r>
              <a:rPr lang="fr-FR"/>
              <a:t>Page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2" name="Espace réservé du texte 95">
            <a:extLst>
              <a:ext uri="{FF2B5EF4-FFF2-40B4-BE49-F238E27FC236}">
                <a16:creationId xmlns:a16="http://schemas.microsoft.com/office/drawing/2014/main" id="{CA2C5C2D-DAC2-984B-9CF8-D3CCD73AF5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6756" y="1229859"/>
            <a:ext cx="5589270" cy="5146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00BCFD"/>
                </a:solidFill>
              </a:defRPr>
            </a:lvl1pPr>
          </a:lstStyle>
          <a:p>
            <a:pPr lvl="0"/>
            <a:r>
              <a:rPr lang="fr-FR" err="1"/>
              <a:t>Subtitle</a:t>
            </a:r>
            <a:endParaRPr lang="fr-FR"/>
          </a:p>
        </p:txBody>
      </p:sp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1ED14196-8E0C-DB46-A86C-C107665B0CC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15888" y="1746032"/>
            <a:ext cx="10576012" cy="42618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04423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3">
            <a:extLst>
              <a:ext uri="{FF2B5EF4-FFF2-40B4-BE49-F238E27FC236}">
                <a16:creationId xmlns:a16="http://schemas.microsoft.com/office/drawing/2014/main" id="{83773EBE-238E-4184-BF01-429F39A0BC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583025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fr-FR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10F3B108-3CE1-4D6F-AAD5-4C0888A12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42" y="1544576"/>
            <a:ext cx="834855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lnSpc>
                <a:spcPct val="10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C22D1CAE-0A4C-4C51-B6EA-813008533A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43457" y="4068040"/>
            <a:ext cx="4853116" cy="400110"/>
          </a:xfrm>
        </p:spPr>
        <p:txBody>
          <a:bodyPr anchor="ctr">
            <a:spAutoFit/>
          </a:bodyPr>
          <a:lstStyle>
            <a:lvl1pPr marL="0" indent="0" algn="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8BA7D02-534E-40CA-90D8-7D807B1CA91E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B10540F-F80D-4DB5-AB02-4B5CD41B745A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BF3CE8C-F03D-4D14-815B-2F2A7767FAF1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82F8BE-6E5B-4CC7-B81F-3A90A5E9D94F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6537E65B-738B-48BC-8527-C19FD6E97973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e 1">
            <a:extLst>
              <a:ext uri="{FF2B5EF4-FFF2-40B4-BE49-F238E27FC236}">
                <a16:creationId xmlns:a16="http://schemas.microsoft.com/office/drawing/2014/main" id="{E8B65ECB-3DDC-2C4E-89EB-2BB7F22BE765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FCFBC52F-E0A0-FE4E-AFCD-5CDD6218CE81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BF385F75-F18C-B34D-9C38-4949BE25B910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555CABF5-27BE-CD49-8130-FA9179DC13FC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64CF9F84-9101-4B49-B5D3-EBB73BE7313F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F6993FF5-E064-A547-BA86-E6AF5A07D9EC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05A3B90E-B911-6242-90F9-61018E2D1DE4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1945DF33-9C01-1747-9CD5-2D477AB8E5F9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D48E228E-98F7-E946-BD71-D529E6BD0AE4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18527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F8971B3-5B54-4B17-AF0B-B39EAED934A6}"/>
              </a:ext>
            </a:extLst>
          </p:cNvPr>
          <p:cNvSpPr/>
          <p:nvPr userDrawn="1"/>
        </p:nvSpPr>
        <p:spPr>
          <a:xfrm>
            <a:off x="13472" y="0"/>
            <a:ext cx="12178528" cy="58302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10F3B108-3CE1-4D6F-AAD5-4C0888A12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42" y="1544576"/>
            <a:ext cx="834855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lnSpc>
                <a:spcPct val="100000"/>
              </a:lnSpc>
              <a:defRPr sz="5000" cap="all" baseline="0"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C22D1CAE-0A4C-4C51-B6EA-813008533A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43457" y="4068040"/>
            <a:ext cx="4853116" cy="400110"/>
          </a:xfrm>
        </p:spPr>
        <p:txBody>
          <a:bodyPr anchor="ctr">
            <a:spAutoFit/>
          </a:bodyPr>
          <a:lstStyle>
            <a:lvl1pPr marL="0" indent="0" algn="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BF3CE8C-F03D-4D14-815B-2F2A7767FAF1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82F8BE-6E5B-4CC7-B81F-3A90A5E9D94F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6537E65B-738B-48BC-8527-C19FD6E97973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E03384CE-3213-D941-B1EA-17333675D59D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0121A7A0-67B2-8149-BA85-3FDCCC203BB6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C223A35D-2180-BC44-A222-0DFDA68CD799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B094676F-1B6F-0D41-9ED0-416AFEAA8B31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30F0A653-82F0-AD45-893D-8A682BB1FEC5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EBFA39B9-BFF7-7F4F-9E2A-B2ADE297E8C1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46838594-96C6-0C4D-B261-EF75E421D2CD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D183A207-5CFE-4648-BD15-1C68CA315342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71AE98C1-62B0-6F48-BB49-7852B27F0F05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31" name="ZoneTexte 30">
            <a:extLst>
              <a:ext uri="{FF2B5EF4-FFF2-40B4-BE49-F238E27FC236}">
                <a16:creationId xmlns:a16="http://schemas.microsoft.com/office/drawing/2014/main" id="{9E3976EE-FC1F-804C-A9F9-4737E6B757D1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931E5CF0-13FA-C14A-899F-0D8DD23151AE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  <p:pic>
        <p:nvPicPr>
          <p:cNvPr id="33" name="Image 15">
            <a:extLst>
              <a:ext uri="{FF2B5EF4-FFF2-40B4-BE49-F238E27FC236}">
                <a16:creationId xmlns:a16="http://schemas.microsoft.com/office/drawing/2014/main" id="{FB4E7089-8DDE-30A7-D7AA-7F8341433E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510" y="4953209"/>
            <a:ext cx="1438980" cy="51788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3736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593F8D1-8848-49FA-ACA5-19CE2D0F0E7E}"/>
              </a:ext>
            </a:extLst>
          </p:cNvPr>
          <p:cNvSpPr/>
          <p:nvPr userDrawn="1"/>
        </p:nvSpPr>
        <p:spPr>
          <a:xfrm>
            <a:off x="0" y="0"/>
            <a:ext cx="12192000" cy="5830253"/>
          </a:xfrm>
          <a:prstGeom prst="rect">
            <a:avLst/>
          </a:prstGeom>
          <a:solidFill>
            <a:srgbClr val="CDE4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10F3B108-3CE1-4D6F-AAD5-4C0888A12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42" y="1544576"/>
            <a:ext cx="8348552" cy="86177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lnSpc>
                <a:spcPct val="100000"/>
              </a:lnSpc>
              <a:defRPr sz="5000" cap="all" baseline="0">
                <a:solidFill>
                  <a:schemeClr val="tx2"/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C22D1CAE-0A4C-4C51-B6EA-813008533A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43457" y="4068040"/>
            <a:ext cx="4853116" cy="400110"/>
          </a:xfrm>
        </p:spPr>
        <p:txBody>
          <a:bodyPr anchor="ctr">
            <a:spAutoFit/>
          </a:bodyPr>
          <a:lstStyle>
            <a:lvl1pPr marL="0" indent="0" algn="r">
              <a:lnSpc>
                <a:spcPct val="100000"/>
              </a:lnSpc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B374B0D-C9F6-4FBD-BFE1-D7D86673B7CA}"/>
              </a:ext>
            </a:extLst>
          </p:cNvPr>
          <p:cNvSpPr txBox="1"/>
          <p:nvPr userDrawn="1"/>
        </p:nvSpPr>
        <p:spPr>
          <a:xfrm>
            <a:off x="4355869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DFE7E40-6887-4FFB-9910-3A9BF89584BF}"/>
              </a:ext>
            </a:extLst>
          </p:cNvPr>
          <p:cNvSpPr txBox="1"/>
          <p:nvPr userDrawn="1"/>
        </p:nvSpPr>
        <p:spPr>
          <a:xfrm>
            <a:off x="5594465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EINT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55942F4-54B6-4A3F-8E32-4B7DAD30E6CA}"/>
              </a:ext>
            </a:extLst>
          </p:cNvPr>
          <p:cNvSpPr txBox="1"/>
          <p:nvPr userDrawn="1"/>
        </p:nvSpPr>
        <p:spPr>
          <a:xfrm>
            <a:off x="6758246" y="5951759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22E9ABFF-323D-4FDB-8E54-A1B7258E3D79}"/>
              </a:ext>
            </a:extLst>
          </p:cNvPr>
          <p:cNvCxnSpPr>
            <a:cxnSpLocks/>
          </p:cNvCxnSpPr>
          <p:nvPr userDrawn="1"/>
        </p:nvCxnSpPr>
        <p:spPr>
          <a:xfrm>
            <a:off x="5473959" y="5946709"/>
            <a:ext cx="0" cy="19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AB17BEEE-F297-470A-823F-06B0C3A0583C}"/>
              </a:ext>
            </a:extLst>
          </p:cNvPr>
          <p:cNvCxnSpPr>
            <a:cxnSpLocks/>
          </p:cNvCxnSpPr>
          <p:nvPr userDrawn="1"/>
        </p:nvCxnSpPr>
        <p:spPr>
          <a:xfrm>
            <a:off x="6705034" y="5946709"/>
            <a:ext cx="0" cy="19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17AD276E-E068-41C4-8D2A-8183CBFEEABB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1E7490ED-9A1B-43F8-84E6-7B931EEE65E1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C0FD4D31-4D30-425B-AEEF-825D80FDF5EB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age 17">
            <a:extLst>
              <a:ext uri="{FF2B5EF4-FFF2-40B4-BE49-F238E27FC236}">
                <a16:creationId xmlns:a16="http://schemas.microsoft.com/office/drawing/2014/main" id="{088DFE63-EF82-47C9-B36B-75E8E56659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6510" y="4953209"/>
            <a:ext cx="1438980" cy="517883"/>
          </a:xfrm>
          <a:prstGeom prst="rect">
            <a:avLst/>
          </a:prstGeom>
          <a:ln>
            <a:noFill/>
          </a:ln>
        </p:spPr>
      </p:pic>
      <p:grpSp>
        <p:nvGrpSpPr>
          <p:cNvPr id="27" name="Groupe 26">
            <a:extLst>
              <a:ext uri="{FF2B5EF4-FFF2-40B4-BE49-F238E27FC236}">
                <a16:creationId xmlns:a16="http://schemas.microsoft.com/office/drawing/2014/main" id="{3763600D-A025-4241-B329-00F8CC869745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84BD0A0C-AEAD-9240-872F-F43D4A1BCCC3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2BBFF64D-6153-AA43-B7EA-F2D695DA6F98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6ABE7A61-99C8-D84B-ABA8-5F6C1F57F360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C64F2FAE-0599-7145-A30E-659DD2A4626B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8E9952D0-437E-1E41-982A-7AD5D522D6BC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4033CC86-361F-0246-96AE-2A347593449F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D65618F5-B2F3-CF41-ACB1-4E38865F505C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DE13BBA5-F678-2242-A9DD-7CB5405EB486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25" name="ZoneTexte 24">
            <a:extLst>
              <a:ext uri="{FF2B5EF4-FFF2-40B4-BE49-F238E27FC236}">
                <a16:creationId xmlns:a16="http://schemas.microsoft.com/office/drawing/2014/main" id="{AC37E7D8-A9ED-DC48-86D7-61FC70936BDF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7B27CC74-6847-DB4E-96D1-EF0B5E01C65A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548214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4EF7CAD-0A74-505C-1AB6-7E6CAF9D0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A459471-8C60-D370-90FC-DE6813F281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96CA163-25D7-7AF4-D0A3-6B474CCA9B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A2EFA6-2532-F738-9467-87282222D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9AABEF5-E453-9454-F130-42E854123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15006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3E9CB0F-FE28-476B-99CE-E98B82279D6E}"/>
              </a:ext>
            </a:extLst>
          </p:cNvPr>
          <p:cNvSpPr/>
          <p:nvPr userDrawn="1"/>
        </p:nvSpPr>
        <p:spPr>
          <a:xfrm>
            <a:off x="369887" y="375138"/>
            <a:ext cx="11822113" cy="2398613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535367-D0EC-44EC-837B-EED656EC4AAE}"/>
              </a:ext>
            </a:extLst>
          </p:cNvPr>
          <p:cNvSpPr/>
          <p:nvPr userDrawn="1"/>
        </p:nvSpPr>
        <p:spPr>
          <a:xfrm>
            <a:off x="0" y="2582801"/>
            <a:ext cx="3048001" cy="447357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C3B1777-382F-D742-B41A-22BE1DE3FEF3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531373FA-1321-EA4E-9824-5A1062BFFC92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2429ACEF-F815-5A4E-A036-5C9DED74B441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48A1B9E-B8E5-3543-A26D-16E8DEAA95B6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6419222F-7B1F-7C43-A315-239AF3E5F47E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0F519FDF-5A92-B544-9C20-E527AFA93FE7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01A8270C-FE78-ED40-919F-447241C1292E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E17D73AC-EDD6-E64B-B221-6CB599E8E411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12FDD32C-A0B1-0C49-8D1C-6CD4F15AE4C1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6A06538F-8B98-6C41-9AA9-17F520C43709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4AEC0FCE-072B-7341-95AA-EE0EBE960426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28" name="ZoneTexte 27">
            <a:extLst>
              <a:ext uri="{FF2B5EF4-FFF2-40B4-BE49-F238E27FC236}">
                <a16:creationId xmlns:a16="http://schemas.microsoft.com/office/drawing/2014/main" id="{28E2F168-3641-4F45-B4D8-DB4BE825ADEA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sp>
        <p:nvSpPr>
          <p:cNvPr id="31" name="Titre 17">
            <a:extLst>
              <a:ext uri="{FF2B5EF4-FFF2-40B4-BE49-F238E27FC236}">
                <a16:creationId xmlns:a16="http://schemas.microsoft.com/office/drawing/2014/main" id="{79E9E6B7-3D3C-D34F-B8D9-529F5742E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5869" y="3146051"/>
            <a:ext cx="7375541" cy="646331"/>
          </a:xfrm>
        </p:spPr>
        <p:txBody>
          <a:bodyPr wrap="square" anchor="t" anchorCtr="0">
            <a:spAutoFit/>
          </a:bodyPr>
          <a:lstStyle>
            <a:lvl1pPr algn="r">
              <a:defRPr sz="3600" b="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32" name="Espace réservé du texte 19">
            <a:extLst>
              <a:ext uri="{FF2B5EF4-FFF2-40B4-BE49-F238E27FC236}">
                <a16:creationId xmlns:a16="http://schemas.microsoft.com/office/drawing/2014/main" id="{F4C3FFD8-AC3F-2B41-8663-BE489030FF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92673" y="3936876"/>
            <a:ext cx="5138737" cy="40011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endParaRPr lang="fr-FR"/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991CF24F-4CF5-7445-AFF8-4246403A36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1041" y="4858863"/>
            <a:ext cx="1438980" cy="517883"/>
          </a:xfrm>
          <a:prstGeom prst="rect">
            <a:avLst/>
          </a:prstGeom>
          <a:ln>
            <a:noFill/>
          </a:ln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AB8F03F7-74C2-9D4B-8A5C-BB8FD5D21898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2521E7F9-3DA9-7443-BFCE-113056E88939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1590560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061EEA-5A93-4C55-98D0-E904AE5B56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9888" y="367166"/>
            <a:ext cx="11822112" cy="2398612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EAFEC-1FF9-44DC-B8D9-017A45799F15}"/>
              </a:ext>
            </a:extLst>
          </p:cNvPr>
          <p:cNvSpPr/>
          <p:nvPr userDrawn="1"/>
        </p:nvSpPr>
        <p:spPr>
          <a:xfrm>
            <a:off x="0" y="2586788"/>
            <a:ext cx="3048001" cy="447357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08777323-BD62-6346-B088-36AC85A9D5F0}"/>
              </a:ext>
            </a:extLst>
          </p:cNvPr>
          <p:cNvCxnSpPr>
            <a:cxnSpLocks/>
          </p:cNvCxnSpPr>
          <p:nvPr userDrawn="1"/>
        </p:nvCxnSpPr>
        <p:spPr>
          <a:xfrm>
            <a:off x="5473959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056D15C3-9A4A-CC42-99E1-2F272A8CD958}"/>
              </a:ext>
            </a:extLst>
          </p:cNvPr>
          <p:cNvCxnSpPr>
            <a:cxnSpLocks/>
          </p:cNvCxnSpPr>
          <p:nvPr userDrawn="1"/>
        </p:nvCxnSpPr>
        <p:spPr>
          <a:xfrm>
            <a:off x="6705034" y="6006997"/>
            <a:ext cx="0" cy="1980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505C6F7-91AB-624E-BA09-180FDCA839E9}"/>
              </a:ext>
            </a:extLst>
          </p:cNvPr>
          <p:cNvGrpSpPr/>
          <p:nvPr userDrawn="1"/>
        </p:nvGrpSpPr>
        <p:grpSpPr>
          <a:xfrm>
            <a:off x="4660055" y="6293057"/>
            <a:ext cx="419945" cy="419945"/>
            <a:chOff x="4660055" y="6248453"/>
            <a:chExt cx="419945" cy="419945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746CCC63-3B4C-1C45-A500-C85F07B1CA9C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1CA7ED91-2799-074F-BD8A-91581AD8A790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44F61B14-8B44-4246-8E5E-03E714EABC7B}"/>
              </a:ext>
            </a:extLst>
          </p:cNvPr>
          <p:cNvGrpSpPr/>
          <p:nvPr userDrawn="1"/>
        </p:nvGrpSpPr>
        <p:grpSpPr>
          <a:xfrm>
            <a:off x="5904037" y="6293055"/>
            <a:ext cx="419945" cy="419945"/>
            <a:chOff x="4660055" y="6248453"/>
            <a:chExt cx="419945" cy="419945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003EE3FF-90EA-3541-9D5E-174BED0637FF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4F10BEC2-7ECF-044E-BCDE-82483EE0E6D2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8845C175-62C5-304A-B5D8-2D81A26EF253}"/>
              </a:ext>
            </a:extLst>
          </p:cNvPr>
          <p:cNvGrpSpPr/>
          <p:nvPr userDrawn="1"/>
        </p:nvGrpSpPr>
        <p:grpSpPr>
          <a:xfrm>
            <a:off x="7067818" y="6293053"/>
            <a:ext cx="419945" cy="419945"/>
            <a:chOff x="4660055" y="6248453"/>
            <a:chExt cx="419945" cy="419945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7E36E381-2504-234B-9E1A-7481CA0F900E}"/>
                </a:ext>
              </a:extLst>
            </p:cNvPr>
            <p:cNvSpPr/>
            <p:nvPr userDrawn="1"/>
          </p:nvSpPr>
          <p:spPr>
            <a:xfrm>
              <a:off x="4660055" y="6248453"/>
              <a:ext cx="419945" cy="41994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EFD815E8-E8AC-F145-ADE7-0C987965093D}"/>
                </a:ext>
              </a:extLst>
            </p:cNvPr>
            <p:cNvSpPr/>
            <p:nvPr userDrawn="1"/>
          </p:nvSpPr>
          <p:spPr>
            <a:xfrm>
              <a:off x="4762770" y="6351168"/>
              <a:ext cx="214513" cy="21451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22" name="ZoneTexte 21">
            <a:extLst>
              <a:ext uri="{FF2B5EF4-FFF2-40B4-BE49-F238E27FC236}">
                <a16:creationId xmlns:a16="http://schemas.microsoft.com/office/drawing/2014/main" id="{CBF96D10-8ACB-CB41-900B-CE72D7C0C2F8}"/>
              </a:ext>
            </a:extLst>
          </p:cNvPr>
          <p:cNvSpPr txBox="1"/>
          <p:nvPr userDrawn="1"/>
        </p:nvSpPr>
        <p:spPr>
          <a:xfrm>
            <a:off x="6758246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RET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8B3CAA32-06F6-9649-9FBE-23306BE95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1041" y="4858863"/>
            <a:ext cx="1438980" cy="517883"/>
          </a:xfrm>
          <a:prstGeom prst="rect">
            <a:avLst/>
          </a:prstGeom>
          <a:ln>
            <a:noFill/>
          </a:ln>
        </p:spPr>
      </p:pic>
      <p:sp>
        <p:nvSpPr>
          <p:cNvPr id="24" name="Titre 17">
            <a:extLst>
              <a:ext uri="{FF2B5EF4-FFF2-40B4-BE49-F238E27FC236}">
                <a16:creationId xmlns:a16="http://schemas.microsoft.com/office/drawing/2014/main" id="{98D576CC-5E45-1E46-9178-EBDD1FABDF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5869" y="3146051"/>
            <a:ext cx="7375541" cy="646331"/>
          </a:xfrm>
        </p:spPr>
        <p:txBody>
          <a:bodyPr wrap="square" anchor="t" anchorCtr="0">
            <a:spAutoFit/>
          </a:bodyPr>
          <a:lstStyle>
            <a:lvl1pPr algn="r">
              <a:defRPr sz="3600" b="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25" name="Espace réservé du texte 19">
            <a:extLst>
              <a:ext uri="{FF2B5EF4-FFF2-40B4-BE49-F238E27FC236}">
                <a16:creationId xmlns:a16="http://schemas.microsoft.com/office/drawing/2014/main" id="{A2C65254-120E-E941-8C75-C23177BD76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92673" y="3936876"/>
            <a:ext cx="5138737" cy="40011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3B4CEE66-F69D-B74D-BEB5-1D9F4FE33355}"/>
              </a:ext>
            </a:extLst>
          </p:cNvPr>
          <p:cNvSpPr txBox="1"/>
          <p:nvPr userDrawn="1"/>
        </p:nvSpPr>
        <p:spPr>
          <a:xfrm>
            <a:off x="4355869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251E9C7B-B593-9B49-8AB5-4D95DDB8A7BF}"/>
              </a:ext>
            </a:extLst>
          </p:cNvPr>
          <p:cNvSpPr txBox="1"/>
          <p:nvPr userDrawn="1"/>
        </p:nvSpPr>
        <p:spPr>
          <a:xfrm>
            <a:off x="5594465" y="6012047"/>
            <a:ext cx="10390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i="0" spc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60480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56648"/>
            <a:ext cx="11334750" cy="523220"/>
          </a:xfrm>
        </p:spPr>
        <p:txBody>
          <a:bodyPr>
            <a:noAutofit/>
          </a:bodyPr>
          <a:lstStyle>
            <a:lvl1pPr marL="0" indent="0">
              <a:buNone/>
              <a:defRPr sz="25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890167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6">
            <a:extLst>
              <a:ext uri="{FF2B5EF4-FFF2-40B4-BE49-F238E27FC236}">
                <a16:creationId xmlns:a16="http://schemas.microsoft.com/office/drawing/2014/main" id="{24CACEE7-33A0-4B90-BD78-372E43E512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9129" y="1974557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14" name="Espace réservé du texte 26">
            <a:extLst>
              <a:ext uri="{FF2B5EF4-FFF2-40B4-BE49-F238E27FC236}">
                <a16:creationId xmlns:a16="http://schemas.microsoft.com/office/drawing/2014/main" id="{1DD0599C-1921-47BA-9B44-F0954A4F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9722" y="2249067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15" name="Espace réservé du texte 26">
            <a:extLst>
              <a:ext uri="{FF2B5EF4-FFF2-40B4-BE49-F238E27FC236}">
                <a16:creationId xmlns:a16="http://schemas.microsoft.com/office/drawing/2014/main" id="{615A44B0-6E89-4733-91D2-0945757FEB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93520" y="2043809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6" name="Espace réservé du texte 26">
            <a:extLst>
              <a:ext uri="{FF2B5EF4-FFF2-40B4-BE49-F238E27FC236}">
                <a16:creationId xmlns:a16="http://schemas.microsoft.com/office/drawing/2014/main" id="{7693AF9D-365D-45DE-A221-58D1EE4E1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29" y="2879950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17" name="Espace réservé du texte 26">
            <a:extLst>
              <a:ext uri="{FF2B5EF4-FFF2-40B4-BE49-F238E27FC236}">
                <a16:creationId xmlns:a16="http://schemas.microsoft.com/office/drawing/2014/main" id="{364D430B-463E-4695-95DE-028D23FA5B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39722" y="3154460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18" name="Espace réservé du texte 26">
            <a:extLst>
              <a:ext uri="{FF2B5EF4-FFF2-40B4-BE49-F238E27FC236}">
                <a16:creationId xmlns:a16="http://schemas.microsoft.com/office/drawing/2014/main" id="{C1125814-0E7E-4FC6-964D-D66E5FCE57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3520" y="2949202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19" name="Espace réservé du texte 26">
            <a:extLst>
              <a:ext uri="{FF2B5EF4-FFF2-40B4-BE49-F238E27FC236}">
                <a16:creationId xmlns:a16="http://schemas.microsoft.com/office/drawing/2014/main" id="{0A04B0AE-6C8D-43D9-9DA1-6AEA3EFE17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69129" y="3807489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20" name="Espace réservé du texte 26">
            <a:extLst>
              <a:ext uri="{FF2B5EF4-FFF2-40B4-BE49-F238E27FC236}">
                <a16:creationId xmlns:a16="http://schemas.microsoft.com/office/drawing/2014/main" id="{34E38AAA-2D02-491E-BA59-59DDA7C300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39722" y="4081999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21" name="Espace réservé du texte 26">
            <a:extLst>
              <a:ext uri="{FF2B5EF4-FFF2-40B4-BE49-F238E27FC236}">
                <a16:creationId xmlns:a16="http://schemas.microsoft.com/office/drawing/2014/main" id="{90BEB854-DBA8-4CF6-9783-FE19C65757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93520" y="3876741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2" name="Espace réservé du texte 26">
            <a:extLst>
              <a:ext uri="{FF2B5EF4-FFF2-40B4-BE49-F238E27FC236}">
                <a16:creationId xmlns:a16="http://schemas.microsoft.com/office/drawing/2014/main" id="{BA3EE6DE-1BA8-43A7-ADD1-29CD4F21CC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129" y="4714023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23" name="Espace réservé du texte 26">
            <a:extLst>
              <a:ext uri="{FF2B5EF4-FFF2-40B4-BE49-F238E27FC236}">
                <a16:creationId xmlns:a16="http://schemas.microsoft.com/office/drawing/2014/main" id="{1CA142FE-3D9B-44AB-A8F3-187CFAFAD6B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9722" y="4988533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24" name="Espace réservé du texte 26">
            <a:extLst>
              <a:ext uri="{FF2B5EF4-FFF2-40B4-BE49-F238E27FC236}">
                <a16:creationId xmlns:a16="http://schemas.microsoft.com/office/drawing/2014/main" id="{184BCBA6-CDDC-4134-AEF3-B9CB619564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93520" y="4783275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5" name="Espace réservé du texte 26">
            <a:extLst>
              <a:ext uri="{FF2B5EF4-FFF2-40B4-BE49-F238E27FC236}">
                <a16:creationId xmlns:a16="http://schemas.microsoft.com/office/drawing/2014/main" id="{64728F90-9961-40D7-ADE3-000E176AFF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27538" y="1974557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26" name="Espace réservé du texte 26">
            <a:extLst>
              <a:ext uri="{FF2B5EF4-FFF2-40B4-BE49-F238E27FC236}">
                <a16:creationId xmlns:a16="http://schemas.microsoft.com/office/drawing/2014/main" id="{61F66FFE-67C9-4B56-8324-EF6BDFE32E4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898131" y="2249067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770BEFA4-581A-4759-8605-C6AF6C4085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1929" y="2043809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28" name="Espace réservé du texte 26">
            <a:extLst>
              <a:ext uri="{FF2B5EF4-FFF2-40B4-BE49-F238E27FC236}">
                <a16:creationId xmlns:a16="http://schemas.microsoft.com/office/drawing/2014/main" id="{0DC42330-EAE2-49DE-BF3A-315F8F22655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27538" y="2879950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29" name="Espace réservé du texte 26">
            <a:extLst>
              <a:ext uri="{FF2B5EF4-FFF2-40B4-BE49-F238E27FC236}">
                <a16:creationId xmlns:a16="http://schemas.microsoft.com/office/drawing/2014/main" id="{88D570F5-9141-4173-B1A7-2A1E8ABCE4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898131" y="3154460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30" name="Espace réservé du texte 26">
            <a:extLst>
              <a:ext uri="{FF2B5EF4-FFF2-40B4-BE49-F238E27FC236}">
                <a16:creationId xmlns:a16="http://schemas.microsoft.com/office/drawing/2014/main" id="{5EB5C6CD-1AB5-462B-8ECE-62054284C49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51929" y="2949202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31" name="Espace réservé du texte 26">
            <a:extLst>
              <a:ext uri="{FF2B5EF4-FFF2-40B4-BE49-F238E27FC236}">
                <a16:creationId xmlns:a16="http://schemas.microsoft.com/office/drawing/2014/main" id="{814B6700-A687-4F5F-879A-807CA2B3B2E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27538" y="3807489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32" name="Espace réservé du texte 26">
            <a:extLst>
              <a:ext uri="{FF2B5EF4-FFF2-40B4-BE49-F238E27FC236}">
                <a16:creationId xmlns:a16="http://schemas.microsoft.com/office/drawing/2014/main" id="{027CC24C-CBD9-47AF-B3FC-B05FD537C7F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898131" y="4081999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33" name="Espace réservé du texte 26">
            <a:extLst>
              <a:ext uri="{FF2B5EF4-FFF2-40B4-BE49-F238E27FC236}">
                <a16:creationId xmlns:a16="http://schemas.microsoft.com/office/drawing/2014/main" id="{1E06401C-90FC-474B-955D-3DA7848F08F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651929" y="3876741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34" name="Espace réservé du texte 26">
            <a:extLst>
              <a:ext uri="{FF2B5EF4-FFF2-40B4-BE49-F238E27FC236}">
                <a16:creationId xmlns:a16="http://schemas.microsoft.com/office/drawing/2014/main" id="{93FB19A3-E5D8-4E8E-A06D-80CA1D7683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527538" y="4714023"/>
            <a:ext cx="800219" cy="646331"/>
          </a:xfrm>
        </p:spPr>
        <p:txBody>
          <a:bodyPr wrap="none"/>
          <a:lstStyle>
            <a:lvl1pPr marL="0" indent="0" algn="l">
              <a:buNone/>
              <a:defRPr sz="3600">
                <a:solidFill>
                  <a:srgbClr val="007E96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35" name="Espace réservé du texte 26">
            <a:extLst>
              <a:ext uri="{FF2B5EF4-FFF2-40B4-BE49-F238E27FC236}">
                <a16:creationId xmlns:a16="http://schemas.microsoft.com/office/drawing/2014/main" id="{47585CE7-6316-4828-B3DF-CB274927576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98131" y="4988533"/>
            <a:ext cx="2592377" cy="307777"/>
          </a:xfrm>
        </p:spPr>
        <p:txBody>
          <a:bodyPr wrap="none"/>
          <a:lstStyle>
            <a:lvl1pPr marL="0" indent="0" algn="r">
              <a:buNone/>
              <a:defRPr sz="1400" b="1">
                <a:solidFill>
                  <a:srgbClr val="00B2BB"/>
                </a:solidFill>
                <a:latin typeface="+mn-lt"/>
              </a:defRPr>
            </a:lvl1pPr>
          </a:lstStyle>
          <a:p>
            <a:pPr lvl="0"/>
            <a:r>
              <a:rPr lang="fr-FR"/>
              <a:t>information complémentaire</a:t>
            </a:r>
          </a:p>
        </p:txBody>
      </p:sp>
      <p:sp>
        <p:nvSpPr>
          <p:cNvPr id="36" name="Espace réservé du texte 26">
            <a:extLst>
              <a:ext uri="{FF2B5EF4-FFF2-40B4-BE49-F238E27FC236}">
                <a16:creationId xmlns:a16="http://schemas.microsoft.com/office/drawing/2014/main" id="{BB399784-B415-4005-889F-EEEC498D6E3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651929" y="4783275"/>
            <a:ext cx="1838580" cy="307777"/>
          </a:xfrm>
        </p:spPr>
        <p:txBody>
          <a:bodyPr wrap="none" anchor="b" anchorCtr="0"/>
          <a:lstStyle>
            <a:lvl1pPr marL="0" indent="0" algn="r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Titre du chapitre</a:t>
            </a:r>
          </a:p>
        </p:txBody>
      </p:sp>
      <p:sp>
        <p:nvSpPr>
          <p:cNvPr id="37" name="Espace réservé du numéro de diapositive 6">
            <a:extLst>
              <a:ext uri="{FF2B5EF4-FFF2-40B4-BE49-F238E27FC236}">
                <a16:creationId xmlns:a16="http://schemas.microsoft.com/office/drawing/2014/main" id="{CC0E0A20-5FB2-6947-8C49-C60EAE312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38" name="Espace réservé du pied de page 4">
            <a:extLst>
              <a:ext uri="{FF2B5EF4-FFF2-40B4-BE49-F238E27FC236}">
                <a16:creationId xmlns:a16="http://schemas.microsoft.com/office/drawing/2014/main" id="{69C405EB-11E5-B44B-B7C8-216EC7405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12862587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061EEA-5A93-4C55-98D0-E904AE5B56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9888" y="367166"/>
            <a:ext cx="11822112" cy="3061834"/>
          </a:xfrm>
          <a:custGeom>
            <a:avLst/>
            <a:gdLst>
              <a:gd name="connsiteX0" fmla="*/ 0 w 11822112"/>
              <a:gd name="connsiteY0" fmla="*/ 0 h 3061834"/>
              <a:gd name="connsiteX1" fmla="*/ 11822112 w 11822112"/>
              <a:gd name="connsiteY1" fmla="*/ 0 h 3061834"/>
              <a:gd name="connsiteX2" fmla="*/ 11822112 w 11822112"/>
              <a:gd name="connsiteY2" fmla="*/ 3061834 h 3061834"/>
              <a:gd name="connsiteX3" fmla="*/ 2678112 w 11822112"/>
              <a:gd name="connsiteY3" fmla="*/ 3061834 h 3061834"/>
              <a:gd name="connsiteX4" fmla="*/ 2678112 w 11822112"/>
              <a:gd name="connsiteY4" fmla="*/ 2829222 h 3061834"/>
              <a:gd name="connsiteX5" fmla="*/ 0 w 11822112"/>
              <a:gd name="connsiteY5" fmla="*/ 2829222 h 3061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2112" h="3061834">
                <a:moveTo>
                  <a:pt x="0" y="0"/>
                </a:moveTo>
                <a:lnTo>
                  <a:pt x="11822112" y="0"/>
                </a:lnTo>
                <a:lnTo>
                  <a:pt x="11822112" y="3061834"/>
                </a:lnTo>
                <a:lnTo>
                  <a:pt x="2678112" y="3061834"/>
                </a:lnTo>
                <a:lnTo>
                  <a:pt x="2678112" y="2829222"/>
                </a:lnTo>
                <a:lnTo>
                  <a:pt x="0" y="2829222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fr-FR"/>
          </a:p>
        </p:txBody>
      </p:sp>
      <p:sp>
        <p:nvSpPr>
          <p:cNvPr id="27" name="Titre 17">
            <a:extLst>
              <a:ext uri="{FF2B5EF4-FFF2-40B4-BE49-F238E27FC236}">
                <a16:creationId xmlns:a16="http://schemas.microsoft.com/office/drawing/2014/main" id="{C853C810-4BF9-4B34-A6B4-B185503FF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8786" y="3749869"/>
            <a:ext cx="5257800" cy="538609"/>
          </a:xfrm>
        </p:spPr>
        <p:txBody>
          <a:bodyPr anchor="t" anchorCtr="0">
            <a:spAutoFit/>
          </a:bodyPr>
          <a:lstStyle>
            <a:lvl1pPr algn="r">
              <a:defRPr sz="2900" b="1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8" name="Espace réservé du texte 19">
            <a:extLst>
              <a:ext uri="{FF2B5EF4-FFF2-40B4-BE49-F238E27FC236}">
                <a16:creationId xmlns:a16="http://schemas.microsoft.com/office/drawing/2014/main" id="{7C0D9627-3AE6-41EF-A0D8-14474E747E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87849" y="4714218"/>
            <a:ext cx="5138737" cy="40011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AEAFEC-1FF9-44DC-B8D9-017A45799F15}"/>
              </a:ext>
            </a:extLst>
          </p:cNvPr>
          <p:cNvSpPr/>
          <p:nvPr userDrawn="1"/>
        </p:nvSpPr>
        <p:spPr>
          <a:xfrm>
            <a:off x="-1" y="3196388"/>
            <a:ext cx="3048001" cy="447357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57AF2F9E-E714-4652-A008-A68480F9E2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6000" y="2044800"/>
            <a:ext cx="2710800" cy="1908000"/>
          </a:xfrm>
        </p:spPr>
        <p:txBody>
          <a:bodyPr/>
          <a:lstStyle>
            <a:lvl1pPr marL="0" indent="0" algn="ctr">
              <a:buNone/>
              <a:defRPr sz="115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11" name="Espace réservé du numéro de diapositive 6">
            <a:extLst>
              <a:ext uri="{FF2B5EF4-FFF2-40B4-BE49-F238E27FC236}">
                <a16:creationId xmlns:a16="http://schemas.microsoft.com/office/drawing/2014/main" id="{E0E73917-B48F-EE47-A25F-50F3B2646F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6562DFBE-6A83-AC4F-9D9F-ED7F98A18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27182797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0535367-D0EC-44EC-837B-EED656EC4AAE}"/>
              </a:ext>
            </a:extLst>
          </p:cNvPr>
          <p:cNvSpPr/>
          <p:nvPr userDrawn="1"/>
        </p:nvSpPr>
        <p:spPr>
          <a:xfrm>
            <a:off x="0" y="1699059"/>
            <a:ext cx="2879400" cy="335482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1E187ED4-571F-4EC5-86B0-CB95DC950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039" y="2632285"/>
            <a:ext cx="5248260" cy="461665"/>
          </a:xfrm>
        </p:spPr>
        <p:txBody>
          <a:bodyPr wrap="square" anchor="t" anchorCtr="0">
            <a:spAutoFit/>
          </a:bodyPr>
          <a:lstStyle>
            <a:lvl1pPr algn="l">
              <a:defRPr sz="2400" b="1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4483F5BA-6A4B-4167-9553-012D4EB5CB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2907" y="4480310"/>
            <a:ext cx="5138737" cy="369332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A19CF048-B97F-4AAE-95BE-9C8DF1F821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039" y="650340"/>
            <a:ext cx="2710800" cy="1569660"/>
          </a:xfrm>
        </p:spPr>
        <p:txBody>
          <a:bodyPr/>
          <a:lstStyle>
            <a:lvl1pPr marL="0" indent="0" algn="ctr">
              <a:buNone/>
              <a:defRPr sz="9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35C9ACA2-FA64-E84F-B26F-D5E0FE67DD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F08715BF-5FD1-D844-A962-04F3FF3F7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1BF5B873-CBDC-D94E-8806-2825D67CB962}"/>
              </a:ext>
            </a:extLst>
          </p:cNvPr>
          <p:cNvCxnSpPr/>
          <p:nvPr userDrawn="1"/>
        </p:nvCxnSpPr>
        <p:spPr>
          <a:xfrm>
            <a:off x="0" y="4143250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57342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0535367-D0EC-44EC-837B-EED656EC4AAE}"/>
              </a:ext>
            </a:extLst>
          </p:cNvPr>
          <p:cNvSpPr/>
          <p:nvPr userDrawn="1"/>
        </p:nvSpPr>
        <p:spPr>
          <a:xfrm>
            <a:off x="0" y="1699059"/>
            <a:ext cx="2879400" cy="335482"/>
          </a:xfrm>
          <a:prstGeom prst="rect">
            <a:avLst/>
          </a:prstGeom>
          <a:gradFill flip="none" rotWithShape="1">
            <a:gsLst>
              <a:gs pos="0">
                <a:srgbClr val="00BCFD"/>
              </a:gs>
              <a:gs pos="100000">
                <a:srgbClr val="23D2B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1E187ED4-571F-4EC5-86B0-CB95DC950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0039" y="2632285"/>
            <a:ext cx="5248260" cy="461665"/>
          </a:xfrm>
        </p:spPr>
        <p:txBody>
          <a:bodyPr wrap="square" anchor="t" anchorCtr="0">
            <a:spAutoFit/>
          </a:bodyPr>
          <a:lstStyle>
            <a:lvl1pPr algn="l">
              <a:defRPr sz="2400" b="1">
                <a:solidFill>
                  <a:schemeClr val="accent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4483F5BA-6A4B-4167-9553-012D4EB5CB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32907" y="4480310"/>
            <a:ext cx="5138737" cy="369332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A19CF048-B97F-4AAE-95BE-9C8DF1F821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0039" y="650340"/>
            <a:ext cx="2710800" cy="1569660"/>
          </a:xfrm>
        </p:spPr>
        <p:txBody>
          <a:bodyPr/>
          <a:lstStyle>
            <a:lvl1pPr marL="0" indent="0" algn="ctr">
              <a:buNone/>
              <a:defRPr sz="96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35C9ACA2-FA64-E84F-B26F-D5E0FE67DD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F08715BF-5FD1-D844-A962-04F3FF3F7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1BF5B873-CBDC-D94E-8806-2825D67CB962}"/>
              </a:ext>
            </a:extLst>
          </p:cNvPr>
          <p:cNvCxnSpPr/>
          <p:nvPr userDrawn="1"/>
        </p:nvCxnSpPr>
        <p:spPr>
          <a:xfrm>
            <a:off x="0" y="4143250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51AFF40F-026E-104E-8340-6CD4A539767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68338" y="584340"/>
            <a:ext cx="6423662" cy="250961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5669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3112" y="1688399"/>
            <a:ext cx="4930022" cy="323165"/>
          </a:xfrm>
        </p:spPr>
        <p:txBody>
          <a:bodyPr/>
          <a:lstStyle>
            <a:lvl1pPr marL="180000" indent="-180000">
              <a:buSzPct val="50000"/>
              <a:buFontTx/>
              <a:buBlip>
                <a:blip r:embed="rId3"/>
              </a:buBlip>
              <a:defRPr sz="1500" spc="20" baseline="0"/>
            </a:lvl1pPr>
          </a:lstStyle>
          <a:p>
            <a:pPr lvl="0"/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7021FC4C-3EF8-47A7-B0F9-8C0C9A27A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016" y="4730119"/>
            <a:ext cx="4001632" cy="333425"/>
          </a:xfrm>
        </p:spPr>
        <p:txBody>
          <a:bodyPr/>
          <a:lstStyle>
            <a:lvl1pPr marL="0" indent="0" algn="r">
              <a:lnSpc>
                <a:spcPct val="110000"/>
              </a:lnSpc>
              <a:buSzPct val="50000"/>
              <a:buFontTx/>
              <a:buNone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4AB3576-A2B7-4309-B95A-F80F22BD0051}"/>
              </a:ext>
            </a:extLst>
          </p:cNvPr>
          <p:cNvSpPr/>
          <p:nvPr userDrawn="1"/>
        </p:nvSpPr>
        <p:spPr>
          <a:xfrm>
            <a:off x="5705475" y="1771650"/>
            <a:ext cx="6486525" cy="3676650"/>
          </a:xfrm>
          <a:prstGeom prst="rect">
            <a:avLst/>
          </a:prstGeom>
          <a:solidFill>
            <a:srgbClr val="FEF1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space réservé du numéro de diapositive 6">
            <a:extLst>
              <a:ext uri="{FF2B5EF4-FFF2-40B4-BE49-F238E27FC236}">
                <a16:creationId xmlns:a16="http://schemas.microsoft.com/office/drawing/2014/main" id="{98981A26-8602-D44A-8C8A-ED9162284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3" name="Espace réservé du pied de page 4">
            <a:extLst>
              <a:ext uri="{FF2B5EF4-FFF2-40B4-BE49-F238E27FC236}">
                <a16:creationId xmlns:a16="http://schemas.microsoft.com/office/drawing/2014/main" id="{CEEE9B0F-0BEF-8646-A3B2-5656477BE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18157393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rgbClr val="003C58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824" y="1553797"/>
            <a:ext cx="11563226" cy="1532270"/>
          </a:xfrm>
        </p:spPr>
        <p:txBody>
          <a:bodyPr/>
          <a:lstStyle>
            <a:lvl1pPr marL="0" indent="0">
              <a:spcBef>
                <a:spcPts val="700"/>
              </a:spcBef>
              <a:buSzPct val="50000"/>
              <a:buFontTx/>
              <a:buNone/>
              <a:defRPr sz="1500" spc="20" baseline="0"/>
            </a:lvl1pPr>
          </a:lstStyle>
          <a:p>
            <a:pPr lvl="0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B30989E-BEC2-416F-BC6D-DE1C56CD95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96106" y="3712957"/>
            <a:ext cx="9633943" cy="323165"/>
          </a:xfrm>
          <a:solidFill>
            <a:srgbClr val="D2EBD8"/>
          </a:solidFill>
        </p:spPr>
        <p:txBody>
          <a:bodyPr lIns="144000" anchor="ctr"/>
          <a:lstStyle>
            <a:lvl1pPr marL="0" indent="0" algn="l" defTabSz="914400" rtl="0" eaLnBrk="1" latinLnBrk="0" hangingPunct="1">
              <a:buNone/>
              <a:defRPr lang="en-US" sz="1500" kern="1200" cap="all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FE083712-E35E-4C4B-AF92-6156AFD694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85C2C1E1-63F7-B44C-AAFA-0F9D8DBDCB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4678016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9A24606-8572-4CE8-8213-E081ACA20E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7188" y="368300"/>
            <a:ext cx="11834812" cy="3060700"/>
          </a:xfrm>
          <a:custGeom>
            <a:avLst/>
            <a:gdLst>
              <a:gd name="connsiteX0" fmla="*/ 0 w 11834812"/>
              <a:gd name="connsiteY0" fmla="*/ 0 h 3060700"/>
              <a:gd name="connsiteX1" fmla="*/ 11834812 w 11834812"/>
              <a:gd name="connsiteY1" fmla="*/ 0 h 3060700"/>
              <a:gd name="connsiteX2" fmla="*/ 11834812 w 11834812"/>
              <a:gd name="connsiteY2" fmla="*/ 3060700 h 3060700"/>
              <a:gd name="connsiteX3" fmla="*/ 6856412 w 11834812"/>
              <a:gd name="connsiteY3" fmla="*/ 3060700 h 3060700"/>
              <a:gd name="connsiteX4" fmla="*/ 6856412 w 11834812"/>
              <a:gd name="connsiteY4" fmla="*/ 2870200 h 3060700"/>
              <a:gd name="connsiteX5" fmla="*/ 0 w 11834812"/>
              <a:gd name="connsiteY5" fmla="*/ 2870200 h 306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34812" h="3060700">
                <a:moveTo>
                  <a:pt x="0" y="0"/>
                </a:moveTo>
                <a:lnTo>
                  <a:pt x="11834812" y="0"/>
                </a:lnTo>
                <a:lnTo>
                  <a:pt x="11834812" y="3060700"/>
                </a:lnTo>
                <a:lnTo>
                  <a:pt x="6856412" y="3060700"/>
                </a:lnTo>
                <a:lnTo>
                  <a:pt x="6856412" y="2870200"/>
                </a:lnTo>
                <a:lnTo>
                  <a:pt x="0" y="28702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67E313-E97A-4581-A277-0D1EF80D553C}"/>
              </a:ext>
            </a:extLst>
          </p:cNvPr>
          <p:cNvSpPr/>
          <p:nvPr userDrawn="1"/>
        </p:nvSpPr>
        <p:spPr>
          <a:xfrm>
            <a:off x="0" y="3238499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1CB26-1F4C-403B-8C56-067BBC000C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6837" y="3942943"/>
            <a:ext cx="10480034" cy="477054"/>
          </a:xfrm>
        </p:spPr>
        <p:txBody>
          <a:bodyPr/>
          <a:lstStyle>
            <a:lvl1pPr marL="0" indent="0" algn="r"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marR="0" algn="r" rtl="0"/>
            <a:endParaRPr lang="en-US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85D9C73-E16F-134E-AD8A-FE3519D02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B9D488CB-76BF-1E46-B6BA-268B5D79F5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268851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vec guillem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9A24606-8572-4CE8-8213-E081ACA20E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7188" y="368300"/>
            <a:ext cx="11834812" cy="3060700"/>
          </a:xfrm>
          <a:custGeom>
            <a:avLst/>
            <a:gdLst>
              <a:gd name="connsiteX0" fmla="*/ 0 w 11834812"/>
              <a:gd name="connsiteY0" fmla="*/ 0 h 3060700"/>
              <a:gd name="connsiteX1" fmla="*/ 11834812 w 11834812"/>
              <a:gd name="connsiteY1" fmla="*/ 0 h 3060700"/>
              <a:gd name="connsiteX2" fmla="*/ 11834812 w 11834812"/>
              <a:gd name="connsiteY2" fmla="*/ 3060700 h 3060700"/>
              <a:gd name="connsiteX3" fmla="*/ 6856412 w 11834812"/>
              <a:gd name="connsiteY3" fmla="*/ 3060700 h 3060700"/>
              <a:gd name="connsiteX4" fmla="*/ 6856412 w 11834812"/>
              <a:gd name="connsiteY4" fmla="*/ 2870200 h 3060700"/>
              <a:gd name="connsiteX5" fmla="*/ 0 w 11834812"/>
              <a:gd name="connsiteY5" fmla="*/ 2870200 h 306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34812" h="3060700">
                <a:moveTo>
                  <a:pt x="0" y="0"/>
                </a:moveTo>
                <a:lnTo>
                  <a:pt x="11834812" y="0"/>
                </a:lnTo>
                <a:lnTo>
                  <a:pt x="11834812" y="3060700"/>
                </a:lnTo>
                <a:lnTo>
                  <a:pt x="6856412" y="3060700"/>
                </a:lnTo>
                <a:lnTo>
                  <a:pt x="6856412" y="2870200"/>
                </a:lnTo>
                <a:lnTo>
                  <a:pt x="0" y="28702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67E313-E97A-4581-A277-0D1EF80D553C}"/>
              </a:ext>
            </a:extLst>
          </p:cNvPr>
          <p:cNvSpPr/>
          <p:nvPr userDrawn="1"/>
        </p:nvSpPr>
        <p:spPr>
          <a:xfrm>
            <a:off x="0" y="3238499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1CB26-1F4C-403B-8C56-067BBC000C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6837" y="3942943"/>
            <a:ext cx="10480034" cy="477054"/>
          </a:xfrm>
        </p:spPr>
        <p:txBody>
          <a:bodyPr/>
          <a:lstStyle>
            <a:lvl1pPr marL="0" indent="0" algn="r"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marR="0" algn="r" rtl="0"/>
            <a:endParaRPr lang="en-US"/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602C87A6-1E60-4D8C-8E9F-F741C11E4B94}"/>
              </a:ext>
            </a:extLst>
          </p:cNvPr>
          <p:cNvSpPr txBox="1"/>
          <p:nvPr userDrawn="1"/>
        </p:nvSpPr>
        <p:spPr>
          <a:xfrm>
            <a:off x="10721849" y="4937839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algn="l" rtl="0"/>
            <a:r>
              <a:rPr lang="fr-FR" sz="8000" b="0" i="0" u="none" strike="noStrike">
                <a:solidFill>
                  <a:schemeClr val="accent5"/>
                </a:solidFill>
                <a:latin typeface="Arial Black" panose="020B0A04020102020204" pitchFamily="34" charset="0"/>
              </a:rPr>
              <a:t>”</a:t>
            </a:r>
          </a:p>
        </p:txBody>
      </p:sp>
      <p:sp>
        <p:nvSpPr>
          <p:cNvPr id="7" name="TextBox 14">
            <a:extLst>
              <a:ext uri="{FF2B5EF4-FFF2-40B4-BE49-F238E27FC236}">
                <a16:creationId xmlns:a16="http://schemas.microsoft.com/office/drawing/2014/main" id="{6FEFAB1B-F9DD-4AE9-A199-60730915B97C}"/>
              </a:ext>
            </a:extLst>
          </p:cNvPr>
          <p:cNvSpPr txBox="1"/>
          <p:nvPr userDrawn="1"/>
        </p:nvSpPr>
        <p:spPr>
          <a:xfrm>
            <a:off x="4511549" y="3544550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0">
                <a:solidFill>
                  <a:schemeClr val="accent5"/>
                </a:solidFill>
                <a:latin typeface="Arial Black" panose="020B0A04020102020204" pitchFamily="34" charset="0"/>
              </a:rPr>
              <a:t>“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E49716B1-4B8F-CB4D-9B75-8C70F32DDE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08751" y="5790336"/>
            <a:ext cx="2628120" cy="276999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11" name="Espace réservé du numéro de diapositive 6">
            <a:extLst>
              <a:ext uri="{FF2B5EF4-FFF2-40B4-BE49-F238E27FC236}">
                <a16:creationId xmlns:a16="http://schemas.microsoft.com/office/drawing/2014/main" id="{575C08BF-FBC0-874E-8D22-1E0A158F47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F81223B6-BEBA-F245-9269-83AA3A867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897529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1821D32-2D61-EA41-FB64-D73FC670B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33C6DD0-F066-D61D-B124-7C08A232E61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09B78F77-0BB4-A99B-7BF5-D99EA485AE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7E0D6FC-52A7-12E4-598D-61C2B06F4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0445D37-7E07-70BA-E529-3FF2FC55B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A48693A-5DF0-B181-FF08-381451185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47566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431191-2A02-4730-A0CE-98D132A57CA4}"/>
              </a:ext>
            </a:extLst>
          </p:cNvPr>
          <p:cNvSpPr/>
          <p:nvPr userDrawn="1"/>
        </p:nvSpPr>
        <p:spPr>
          <a:xfrm>
            <a:off x="356837" y="355600"/>
            <a:ext cx="11835163" cy="5638800"/>
          </a:xfrm>
          <a:prstGeom prst="rect">
            <a:avLst/>
          </a:prstGeom>
          <a:solidFill>
            <a:srgbClr val="00B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767E313-E97A-4581-A277-0D1EF80D553C}"/>
              </a:ext>
            </a:extLst>
          </p:cNvPr>
          <p:cNvSpPr/>
          <p:nvPr userDrawn="1"/>
        </p:nvSpPr>
        <p:spPr>
          <a:xfrm>
            <a:off x="0" y="5823657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1CB26-1F4C-403B-8C56-067BBC000C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6837" y="2053849"/>
            <a:ext cx="10480034" cy="477054"/>
          </a:xfrm>
        </p:spPr>
        <p:txBody>
          <a:bodyPr anchor="b" anchorCtr="0"/>
          <a:lstStyle>
            <a:lvl1pPr marL="0" indent="0" algn="r"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marR="0" algn="r" rtl="0"/>
            <a:endParaRPr lang="en-US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6A15D596-F37A-D443-AA42-5F91B90C3C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2C37BAB4-255F-AA4D-81C8-60DE1D320F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29854736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leu avec guillem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7431191-2A02-4730-A0CE-98D132A57CA4}"/>
              </a:ext>
            </a:extLst>
          </p:cNvPr>
          <p:cNvSpPr/>
          <p:nvPr userDrawn="1"/>
        </p:nvSpPr>
        <p:spPr>
          <a:xfrm>
            <a:off x="356837" y="355600"/>
            <a:ext cx="11835163" cy="5638800"/>
          </a:xfrm>
          <a:prstGeom prst="rect">
            <a:avLst/>
          </a:prstGeom>
          <a:solidFill>
            <a:srgbClr val="00B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767E313-E97A-4581-A277-0D1EF80D553C}"/>
              </a:ext>
            </a:extLst>
          </p:cNvPr>
          <p:cNvSpPr/>
          <p:nvPr userDrawn="1"/>
        </p:nvSpPr>
        <p:spPr>
          <a:xfrm>
            <a:off x="0" y="5823657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461CB26-1F4C-403B-8C56-067BBC000C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6837" y="2016905"/>
            <a:ext cx="10480034" cy="477054"/>
          </a:xfrm>
        </p:spPr>
        <p:txBody>
          <a:bodyPr anchor="t" anchorCtr="0"/>
          <a:lstStyle>
            <a:lvl1pPr marL="0" indent="0" algn="r"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marR="0" algn="r" rtl="0"/>
            <a:endParaRPr lang="en-US"/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70815F1C-A064-4085-98A8-FB891980F3CF}"/>
              </a:ext>
            </a:extLst>
          </p:cNvPr>
          <p:cNvSpPr txBox="1"/>
          <p:nvPr userDrawn="1"/>
        </p:nvSpPr>
        <p:spPr>
          <a:xfrm>
            <a:off x="10721849" y="3703478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algn="l" rtl="0"/>
            <a:r>
              <a:rPr lang="fr-FR" sz="8000" b="0" i="0" u="none" strike="noStrike">
                <a:solidFill>
                  <a:schemeClr val="accent1"/>
                </a:solidFill>
                <a:latin typeface="Arial Black" panose="020B0A04020102020204" pitchFamily="34" charset="0"/>
              </a:rPr>
              <a:t>”</a:t>
            </a: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5F343F63-AD4A-4147-B8AD-D9A5D9A92C2C}"/>
              </a:ext>
            </a:extLst>
          </p:cNvPr>
          <p:cNvSpPr txBox="1"/>
          <p:nvPr userDrawn="1"/>
        </p:nvSpPr>
        <p:spPr>
          <a:xfrm>
            <a:off x="4511549" y="1619323"/>
            <a:ext cx="9367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0">
                <a:solidFill>
                  <a:schemeClr val="accent1"/>
                </a:solidFill>
                <a:latin typeface="Arial Black" panose="020B0A04020102020204" pitchFamily="34" charset="0"/>
              </a:rPr>
              <a:t>“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3DEA8DC9-9621-4A40-87D3-B054CC1D5C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46470" y="4484786"/>
            <a:ext cx="2628120" cy="276999"/>
          </a:xfrm>
        </p:spPr>
        <p:txBody>
          <a:bodyPr/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11" name="Espace réservé du numéro de diapositive 6">
            <a:extLst>
              <a:ext uri="{FF2B5EF4-FFF2-40B4-BE49-F238E27FC236}">
                <a16:creationId xmlns:a16="http://schemas.microsoft.com/office/drawing/2014/main" id="{E8372FCE-13B7-B742-B8F7-CEE8151E0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E0025B5F-AE5A-5243-817B-81B692E385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30461772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rgbClr val="003C58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1292B55-64A1-45D8-ACA7-B1C0AFBE9C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3112" y="1428409"/>
            <a:ext cx="2401508" cy="1878671"/>
          </a:xfrm>
        </p:spPr>
        <p:txBody>
          <a:bodyPr/>
          <a:lstStyle>
            <a:lvl1pPr marL="0" indent="0">
              <a:buSzPct val="50000"/>
              <a:buFontTx/>
              <a:buNone/>
              <a:defRPr sz="1500" spc="20" baseline="0"/>
            </a:lvl1pPr>
          </a:lstStyle>
          <a:p>
            <a:pPr lvl="0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EC11C8-15AF-440C-81FA-401A786A4CA1}"/>
              </a:ext>
            </a:extLst>
          </p:cNvPr>
          <p:cNvSpPr/>
          <p:nvPr userDrawn="1"/>
        </p:nvSpPr>
        <p:spPr>
          <a:xfrm>
            <a:off x="2814637" y="1515010"/>
            <a:ext cx="9377363" cy="4690527"/>
          </a:xfrm>
          <a:prstGeom prst="rect">
            <a:avLst/>
          </a:prstGeom>
          <a:solidFill>
            <a:srgbClr val="FCE5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791495A5-EF78-E54F-BCE5-9486F475B0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CD6B46D1-B6A8-F34D-A4C0-92C276B32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22832920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rgbClr val="003C58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CFCF277-66D0-46F6-B18E-0B37F27CA7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68898" y="1548391"/>
            <a:ext cx="10411720" cy="333425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700"/>
              </a:spcBef>
              <a:buSzPct val="50000"/>
              <a:buFontTx/>
              <a:buNone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99B2560-5A2F-461D-B47C-6917B8C240D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68898" y="3107315"/>
            <a:ext cx="10404100" cy="1328883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700"/>
              </a:spcBef>
              <a:buSzPct val="50000"/>
              <a:buFontTx/>
              <a:buNone/>
              <a:defRPr sz="1500" spc="5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marR="0" algn="l" rtl="0"/>
            <a:endParaRPr lang="en-US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13EBDC3-786B-4A3D-9938-FAC4F6DAC7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8898" y="4444990"/>
            <a:ext cx="10404100" cy="1068570"/>
          </a:xfrm>
        </p:spPr>
        <p:txBody>
          <a:bodyPr/>
          <a:lstStyle>
            <a:lvl1pPr marL="180000" indent="-180000">
              <a:spcBef>
                <a:spcPts val="900"/>
              </a:spcBef>
              <a:buSzPct val="50000"/>
              <a:buFontTx/>
              <a:buBlip>
                <a:blip r:embed="rId3"/>
              </a:buBlip>
              <a:defRPr sz="1500" spc="20" baseline="0"/>
            </a:lvl1pPr>
          </a:lstStyle>
          <a:p>
            <a:pPr lvl="0"/>
            <a:endParaRPr lang="en-US"/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FE696FE3-641E-6444-B0E0-192380C38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E6FAD938-27F4-DF42-846B-98C45CD88D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3217983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062DA86-A326-DE43-ACED-94DB48A4C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23A81388-8FD3-A548-8487-58380675D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29497023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7021FC4C-3EF8-47A7-B0F9-8C0C9A27A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7016" y="4730119"/>
            <a:ext cx="4001632" cy="333425"/>
          </a:xfrm>
        </p:spPr>
        <p:txBody>
          <a:bodyPr/>
          <a:lstStyle>
            <a:lvl1pPr marL="0" indent="0" algn="r">
              <a:lnSpc>
                <a:spcPct val="110000"/>
              </a:lnSpc>
              <a:buSzPct val="50000"/>
              <a:buFontTx/>
              <a:buNone/>
              <a:defRPr sz="1500" spc="2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91CB0C2-ED75-4C6A-9B96-53BA9700F5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57800" y="1778000"/>
            <a:ext cx="6934200" cy="36957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5D3DCAAA-A93C-40C4-92A4-4429142635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3112" y="1688399"/>
            <a:ext cx="4930022" cy="323165"/>
          </a:xfrm>
        </p:spPr>
        <p:txBody>
          <a:bodyPr/>
          <a:lstStyle>
            <a:lvl1pPr marL="180000" indent="-180000">
              <a:buSzPct val="50000"/>
              <a:buFontTx/>
              <a:buBlip>
                <a:blip r:embed="rId3"/>
              </a:buBlip>
              <a:defRPr sz="1500" spc="20" baseline="0"/>
            </a:lvl1pPr>
          </a:lstStyle>
          <a:p>
            <a:pPr lvl="0"/>
            <a:endParaRPr lang="en-US"/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50B4259E-2DF0-D24F-95CF-93B04A4AE3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0E5E1A91-8DE2-1243-986E-20C63CBA4A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749711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767B2DF-8516-41AD-A2E6-C8966748C17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816100"/>
            <a:ext cx="2730500" cy="187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C7C5EC6-5662-4A54-9A68-1564F6FDFB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88248" y="1816100"/>
            <a:ext cx="2481263" cy="323165"/>
          </a:xfrm>
        </p:spPr>
        <p:txBody>
          <a:bodyPr/>
          <a:lstStyle>
            <a:lvl1pPr marL="0" indent="0">
              <a:buNone/>
              <a:defRPr sz="1500">
                <a:solidFill>
                  <a:srgbClr val="00B2BB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24B10E49-7964-4120-AA7D-25843D20CF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022241"/>
            <a:ext cx="2730500" cy="192770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F762E47-68E9-45F4-B567-BD27F5D6FE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8248" y="4053991"/>
            <a:ext cx="2481263" cy="323165"/>
          </a:xfrm>
        </p:spPr>
        <p:txBody>
          <a:bodyPr/>
          <a:lstStyle>
            <a:lvl1pPr marL="0" indent="0">
              <a:buNone/>
              <a:defRPr sz="1500">
                <a:solidFill>
                  <a:srgbClr val="00B2BB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75F1522C-91C3-4CA1-B66B-1C8E51AAF23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32500" y="1816100"/>
            <a:ext cx="2730500" cy="18796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F67C9FD-CC5E-44C3-BB14-C145BCB7A2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20748" y="1816100"/>
            <a:ext cx="2481263" cy="323165"/>
          </a:xfrm>
        </p:spPr>
        <p:txBody>
          <a:bodyPr/>
          <a:lstStyle>
            <a:lvl1pPr marL="0" indent="0">
              <a:buNone/>
              <a:defRPr sz="1500">
                <a:solidFill>
                  <a:srgbClr val="00B2BB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5DC954CD-90CF-4FBD-ACB5-F4268BEB5C1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32500" y="4022241"/>
            <a:ext cx="2730500" cy="192770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8E535BC-4EC1-4689-8E98-2DD781473D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820748" y="4053991"/>
            <a:ext cx="2481263" cy="323165"/>
          </a:xfrm>
        </p:spPr>
        <p:txBody>
          <a:bodyPr/>
          <a:lstStyle>
            <a:lvl1pPr marL="0" indent="0">
              <a:buNone/>
              <a:defRPr sz="1500">
                <a:solidFill>
                  <a:srgbClr val="00B2BB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6" name="Espace réservé du numéro de diapositive 6">
            <a:extLst>
              <a:ext uri="{FF2B5EF4-FFF2-40B4-BE49-F238E27FC236}">
                <a16:creationId xmlns:a16="http://schemas.microsoft.com/office/drawing/2014/main" id="{B3A3729A-A5C4-7D4B-9BE2-7BD435C910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8A221E26-AB78-4D45-B549-2EB47521DF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33113658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4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11663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25">
            <a:extLst>
              <a:ext uri="{FF2B5EF4-FFF2-40B4-BE49-F238E27FC236}">
                <a16:creationId xmlns:a16="http://schemas.microsoft.com/office/drawing/2014/main" id="{89933CE2-B036-423D-AF79-36B582A654D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64186590"/>
              </p:ext>
            </p:extLst>
          </p:nvPr>
        </p:nvGraphicFramePr>
        <p:xfrm>
          <a:off x="-6350" y="1447344"/>
          <a:ext cx="11601512" cy="4546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5371">
                  <a:extLst>
                    <a:ext uri="{9D8B030D-6E8A-4147-A177-3AD203B41FA5}">
                      <a16:colId xmlns:a16="http://schemas.microsoft.com/office/drawing/2014/main" val="740782173"/>
                    </a:ext>
                  </a:extLst>
                </a:gridCol>
                <a:gridCol w="4848679">
                  <a:extLst>
                    <a:ext uri="{9D8B030D-6E8A-4147-A177-3AD203B41FA5}">
                      <a16:colId xmlns:a16="http://schemas.microsoft.com/office/drawing/2014/main" val="894110429"/>
                    </a:ext>
                  </a:extLst>
                </a:gridCol>
                <a:gridCol w="152400">
                  <a:extLst>
                    <a:ext uri="{9D8B030D-6E8A-4147-A177-3AD203B41FA5}">
                      <a16:colId xmlns:a16="http://schemas.microsoft.com/office/drawing/2014/main" val="748001939"/>
                    </a:ext>
                  </a:extLst>
                </a:gridCol>
                <a:gridCol w="5715062">
                  <a:extLst>
                    <a:ext uri="{9D8B030D-6E8A-4147-A177-3AD203B41FA5}">
                      <a16:colId xmlns:a16="http://schemas.microsoft.com/office/drawing/2014/main" val="495700598"/>
                    </a:ext>
                  </a:extLst>
                </a:gridCol>
              </a:tblGrid>
              <a:tr h="64876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endParaRPr lang="en-US" sz="1500" b="0" cap="all" baseline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0625650"/>
                  </a:ext>
                </a:extLst>
              </a:tr>
              <a:tr h="54537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AE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137044"/>
                  </a:ext>
                </a:extLst>
              </a:tr>
              <a:tr h="120726"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 marL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b="0" strike="noStrike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12000" algn="l" defTabSz="914400" rtl="0" eaLnBrk="1" latinLnBrk="0" hangingPunct="1"/>
                      <a:endParaRPr lang="en-US" sz="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AE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007892"/>
                  </a:ext>
                </a:extLst>
              </a:tr>
              <a:tr h="99699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00" b="0" strike="noStrike" baseline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000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12000" algn="l" defTabSz="914400" rtl="0" eaLnBrk="1" latinLnBrk="0" hangingPunct="1"/>
                      <a:endParaRPr lang="en-US"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AE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021107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500" b="0" kern="1200" cap="all" baseline="0">
                        <a:solidFill>
                          <a:srgbClr val="003F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"/>
                    </a:p>
                  </a:txBody>
                  <a:tcPr marL="0" marR="0" marT="0" marB="0"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F5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8215276"/>
                  </a:ext>
                </a:extLst>
              </a:tr>
              <a:tr h="545374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kern="120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568065"/>
                  </a:ext>
                </a:extLst>
              </a:tr>
              <a:tr h="120726">
                <a:tc>
                  <a:txBody>
                    <a:bodyPr/>
                    <a:lstStyle/>
                    <a:p>
                      <a:endParaRPr lang="en-US" sz="100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781902"/>
                  </a:ext>
                </a:extLst>
              </a:tr>
              <a:tr h="88494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2BB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0000" algn="l" defTabSz="914400" rtl="0" eaLnBrk="1" latinLnBrk="0" hangingPunct="1"/>
                      <a:endParaRPr lang="en-US" sz="18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115000"/>
                  </a:ext>
                </a:extLst>
              </a:tr>
            </a:tbl>
          </a:graphicData>
        </a:graphic>
      </p:graphicFrame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DE99399C-3B77-411E-AA70-B29ADBD392F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7125" y="3937329"/>
            <a:ext cx="4822475" cy="323165"/>
          </a:xfrm>
        </p:spPr>
        <p:txBody>
          <a:bodyPr/>
          <a:lstStyle>
            <a:lvl1pPr marL="0" indent="0">
              <a:buNone/>
              <a:defRPr sz="1500" cap="all" baseline="0">
                <a:solidFill>
                  <a:schemeClr val="tx2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8C855A71-B096-407C-8874-B3380D1DD3C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8514" y="2185097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A5A8D440-6284-456C-8C98-D922980657E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8514" y="4531132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01B5909E-9844-4051-B97B-FDBDEE33586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67124" y="4531132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B5E62EF2-ADB8-4111-B061-63137661CF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67124" y="2727368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B3FC0E23-3993-438D-AAFF-6A1365D101E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67125" y="2185097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2D68B1F4-310F-4EB7-BB4B-79555B75D15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7125" y="1619003"/>
            <a:ext cx="4822475" cy="323165"/>
          </a:xfrm>
        </p:spPr>
        <p:txBody>
          <a:bodyPr/>
          <a:lstStyle>
            <a:lvl1pPr marL="0" indent="0">
              <a:buNone/>
              <a:defRPr sz="1500" cap="all" baseline="0">
                <a:solidFill>
                  <a:schemeClr val="tx2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37387239-7336-4481-8C87-8FC7BA6824E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428513" y="5103632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924D4F9C-680A-4654-9284-ED20E43E19D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67124" y="5103632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C0EDE1B9-6FDF-47B3-BFA6-3C7ED70FE5D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28513" y="2727368"/>
            <a:ext cx="4822475" cy="369332"/>
          </a:xfrm>
        </p:spPr>
        <p:txBody>
          <a:bodyPr/>
          <a:lstStyle>
            <a:lvl1pPr marL="0" indent="0"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fr-FR"/>
          </a:p>
        </p:txBody>
      </p:sp>
      <p:sp>
        <p:nvSpPr>
          <p:cNvPr id="19" name="Espace réservé du numéro de diapositive 6">
            <a:extLst>
              <a:ext uri="{FF2B5EF4-FFF2-40B4-BE49-F238E27FC236}">
                <a16:creationId xmlns:a16="http://schemas.microsoft.com/office/drawing/2014/main" id="{1E7BCBF8-8D7C-0148-B3C5-2BA6EB9503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E3B63927-9F3B-2149-BCBB-D90EEA4E1E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12527780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+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65D8812B-31AD-49BB-A085-C6FF154E93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6837" y="352422"/>
            <a:ext cx="11834812" cy="3762378"/>
          </a:xfrm>
          <a:custGeom>
            <a:avLst/>
            <a:gdLst>
              <a:gd name="connsiteX0" fmla="*/ 0 w 11834812"/>
              <a:gd name="connsiteY0" fmla="*/ 0 h 3762378"/>
              <a:gd name="connsiteX1" fmla="*/ 11834812 w 11834812"/>
              <a:gd name="connsiteY1" fmla="*/ 0 h 3762378"/>
              <a:gd name="connsiteX2" fmla="*/ 11834812 w 11834812"/>
              <a:gd name="connsiteY2" fmla="*/ 3762378 h 3762378"/>
              <a:gd name="connsiteX3" fmla="*/ 6856763 w 11834812"/>
              <a:gd name="connsiteY3" fmla="*/ 3762378 h 3762378"/>
              <a:gd name="connsiteX4" fmla="*/ 6856763 w 11834812"/>
              <a:gd name="connsiteY4" fmla="*/ 3576893 h 3762378"/>
              <a:gd name="connsiteX5" fmla="*/ 0 w 11834812"/>
              <a:gd name="connsiteY5" fmla="*/ 3576893 h 3762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34812" h="3762378">
                <a:moveTo>
                  <a:pt x="0" y="0"/>
                </a:moveTo>
                <a:lnTo>
                  <a:pt x="11834812" y="0"/>
                </a:lnTo>
                <a:lnTo>
                  <a:pt x="11834812" y="3762378"/>
                </a:lnTo>
                <a:lnTo>
                  <a:pt x="6856763" y="3762378"/>
                </a:lnTo>
                <a:lnTo>
                  <a:pt x="6856763" y="3576893"/>
                </a:lnTo>
                <a:lnTo>
                  <a:pt x="0" y="357689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C330D0-D207-4CCA-848E-DAFD2CEB7B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8289" y="4541962"/>
            <a:ext cx="11085512" cy="415498"/>
          </a:xfrm>
        </p:spPr>
        <p:txBody>
          <a:bodyPr/>
          <a:lstStyle>
            <a:lvl1pPr marL="0" indent="0">
              <a:buNone/>
              <a:defRPr sz="2100">
                <a:solidFill>
                  <a:srgbClr val="003F57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FC55938-D512-49A8-B153-545D08FFC558}"/>
              </a:ext>
            </a:extLst>
          </p:cNvPr>
          <p:cNvSpPr/>
          <p:nvPr userDrawn="1"/>
        </p:nvSpPr>
        <p:spPr>
          <a:xfrm>
            <a:off x="0" y="3929315"/>
            <a:ext cx="7213600" cy="381000"/>
          </a:xfrm>
          <a:prstGeom prst="rect">
            <a:avLst/>
          </a:prstGeom>
          <a:gradFill>
            <a:gsLst>
              <a:gs pos="0">
                <a:srgbClr val="00BCFD"/>
              </a:gs>
              <a:gs pos="100000">
                <a:srgbClr val="23D2B5"/>
              </a:gs>
            </a:gsLst>
            <a:lin ang="216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347EE5D7-62F7-3F42-BBE6-239AF64CA0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A1E7E50-69C4-B748-8909-43CC3AFC2F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9422162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vierge +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8742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197E704-6754-4DE7-8D47-3C52E54F5B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86600" y="1524000"/>
            <a:ext cx="5105400" cy="33909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3A88C97B-2AAE-F04C-BD50-257C521D9B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61B4E494-FACE-FD49-B7B2-42603BD536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362681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9333ED3-8A54-E12D-6258-460E3C637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550F3D5-4E03-46BE-5E63-3528D0FB4D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8CFE930-9995-DB66-116B-DBDDAF7548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63F1034-2BDB-ACAE-B225-781473B309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EF4719F-FBB1-F970-369C-B0BE978DD3B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C2BB8973-A78A-10F3-0750-8E1249DF5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AF8C88E-541A-7602-625E-E92E07D07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5EB3E3B8-C104-F236-AF53-B46E8DC50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06336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 +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8">
            <a:extLst>
              <a:ext uri="{FF2B5EF4-FFF2-40B4-BE49-F238E27FC236}">
                <a16:creationId xmlns:a16="http://schemas.microsoft.com/office/drawing/2014/main" id="{3866277F-4296-466F-A0FE-7A1E5EE87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837" y="6365685"/>
            <a:ext cx="613661" cy="220854"/>
          </a:xfrm>
          <a:prstGeom prst="rect">
            <a:avLst/>
          </a:prstGeom>
          <a:ln>
            <a:noFill/>
          </a:ln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D088FD3-7FFD-4843-85E4-16D12F2C52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6762" y="265293"/>
            <a:ext cx="11334750" cy="523220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2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endParaRPr lang="fr-FR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F312965-B556-498A-8FD9-20D33996CE4F}"/>
              </a:ext>
            </a:extLst>
          </p:cNvPr>
          <p:cNvCxnSpPr/>
          <p:nvPr userDrawn="1"/>
        </p:nvCxnSpPr>
        <p:spPr>
          <a:xfrm>
            <a:off x="0" y="874292"/>
            <a:ext cx="4633913" cy="0"/>
          </a:xfrm>
          <a:prstGeom prst="line">
            <a:avLst/>
          </a:prstGeom>
          <a:ln w="31750">
            <a:solidFill>
              <a:srgbClr val="027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197E704-6754-4DE7-8D47-3C52E54F5B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86600" y="1524000"/>
            <a:ext cx="5105400" cy="33909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299B9E1-1AB2-4052-A899-3CCA3B6C92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3652515"/>
            <a:ext cx="3251199" cy="387804"/>
          </a:xfrm>
          <a:solidFill>
            <a:srgbClr val="67AE6E">
              <a:alpha val="60000"/>
            </a:srgbClr>
          </a:solidFill>
        </p:spPr>
        <p:txBody>
          <a:bodyPr lIns="360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800" kern="1200" cap="all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0283E9E-E6A8-46BF-8048-923952C755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10529" y="3652515"/>
            <a:ext cx="3251199" cy="387804"/>
          </a:xfrm>
          <a:solidFill>
            <a:srgbClr val="278CBC">
              <a:alpha val="60000"/>
            </a:srgbClr>
          </a:solidFill>
        </p:spPr>
        <p:txBody>
          <a:bodyPr lIns="180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800" kern="1200" cap="all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4E15BF8-C6C9-4C24-862C-FBB64296CD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10529" y="1524000"/>
            <a:ext cx="3251199" cy="387804"/>
          </a:xfrm>
          <a:solidFill>
            <a:srgbClr val="00B2BB">
              <a:alpha val="60000"/>
            </a:srgbClr>
          </a:solidFill>
        </p:spPr>
        <p:txBody>
          <a:bodyPr lIns="180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800" kern="1200" cap="all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20147626-EBB2-451B-A7F5-33FA8BEA31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524000"/>
            <a:ext cx="3251199" cy="387804"/>
          </a:xfrm>
          <a:solidFill>
            <a:schemeClr val="accent4">
              <a:alpha val="60000"/>
            </a:schemeClr>
          </a:solidFill>
        </p:spPr>
        <p:txBody>
          <a:bodyPr lIns="360000" rIns="252000" anchor="ctr"/>
          <a:lstStyle>
            <a:lvl1pPr marL="0" indent="0" algn="l" defTabSz="914400" rtl="0" eaLnBrk="1" latinLnBrk="0" hangingPunct="1">
              <a:spcBef>
                <a:spcPts val="2400"/>
              </a:spcBef>
              <a:buNone/>
              <a:defRPr lang="en-US" sz="1800" kern="1200" cap="all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fr-FR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9915CBFE-6761-44F1-B968-6602EFCF17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91953" y="1908501"/>
            <a:ext cx="2965965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rgbClr val="00B2BB"/>
                </a:solidFill>
              </a:defRPr>
            </a:lvl1pPr>
          </a:lstStyle>
          <a:p>
            <a:pPr lvl="0"/>
            <a:r>
              <a:rPr lang="fr-FR"/>
              <a:t>0,00 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423B3DC-1B6D-43B0-B2E0-B3BA21CBE1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5234" y="1908501"/>
            <a:ext cx="2965965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/>
              <a:t>0,00 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6F1F4794-E6FC-449E-BAD1-D17E2E2B5B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5234" y="4031083"/>
            <a:ext cx="2965965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rgbClr val="67AE6E"/>
                </a:solidFill>
              </a:defRPr>
            </a:lvl1pPr>
          </a:lstStyle>
          <a:p>
            <a:pPr lvl="0"/>
            <a:r>
              <a:rPr lang="fr-FR"/>
              <a:t>00 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FB1FE772-3619-4B86-B4F7-C2F01F6717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91953" y="4031083"/>
            <a:ext cx="2965965" cy="861774"/>
          </a:xfrm>
        </p:spPr>
        <p:txBody>
          <a:bodyPr/>
          <a:lstStyle>
            <a:lvl1pPr marL="0" indent="0">
              <a:buNone/>
              <a:defRPr sz="5000" b="1">
                <a:solidFill>
                  <a:srgbClr val="278CBC"/>
                </a:solidFill>
              </a:defRPr>
            </a:lvl1pPr>
          </a:lstStyle>
          <a:p>
            <a:pPr lvl="0"/>
            <a:r>
              <a:rPr lang="fr-FR"/>
              <a:t>00 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A09C3C1-48BD-4780-B675-DAAD25967E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91953" y="2781988"/>
            <a:ext cx="1632527" cy="36933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32" name="Espace réservé du texte 5">
            <a:extLst>
              <a:ext uri="{FF2B5EF4-FFF2-40B4-BE49-F238E27FC236}">
                <a16:creationId xmlns:a16="http://schemas.microsoft.com/office/drawing/2014/main" id="{2C54322D-923B-4750-BB1A-8DD879573DD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91953" y="4912129"/>
            <a:ext cx="1632527" cy="36933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33" name="Espace réservé du texte 5">
            <a:extLst>
              <a:ext uri="{FF2B5EF4-FFF2-40B4-BE49-F238E27FC236}">
                <a16:creationId xmlns:a16="http://schemas.microsoft.com/office/drawing/2014/main" id="{5D62BD64-3F52-4918-91C3-356C638BCE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5234" y="4912129"/>
            <a:ext cx="1614055" cy="36933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35" name="Espace réservé du texte 5">
            <a:extLst>
              <a:ext uri="{FF2B5EF4-FFF2-40B4-BE49-F238E27FC236}">
                <a16:creationId xmlns:a16="http://schemas.microsoft.com/office/drawing/2014/main" id="{F5041F54-EB20-4613-9D13-34A6698A6F8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85233" y="2781988"/>
            <a:ext cx="1614055" cy="36933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endParaRPr lang="fr-FR"/>
          </a:p>
        </p:txBody>
      </p:sp>
      <p:sp>
        <p:nvSpPr>
          <p:cNvPr id="21" name="Espace réservé du numéro de diapositive 6">
            <a:extLst>
              <a:ext uri="{FF2B5EF4-FFF2-40B4-BE49-F238E27FC236}">
                <a16:creationId xmlns:a16="http://schemas.microsoft.com/office/drawing/2014/main" id="{D1A88DBC-1598-E240-BA1C-4F470CD7DA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BC367B2E-B9DF-44EB-A21A-64C9723206C9}" type="slidenum">
              <a:rPr lang="fr-FR" smtClean="0"/>
              <a:pPr/>
              <a:t>‹nº›</a:t>
            </a:fld>
            <a:endParaRPr lang="fr-FR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95B5157D-BC79-4C47-B284-D89AF3CE1A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702276" y="6397471"/>
            <a:ext cx="3081293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8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© ENGIE 2022 – TITLE OF THE PRESENTATION AND DATE -</a:t>
            </a:r>
          </a:p>
        </p:txBody>
      </p:sp>
    </p:spTree>
    <p:extLst>
      <p:ext uri="{BB962C8B-B14F-4D97-AF65-F5344CB8AC3E}">
        <p14:creationId xmlns:p14="http://schemas.microsoft.com/office/powerpoint/2010/main" val="12315561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3369DADF-1092-400F-AFD1-40A48DD24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088" y="2996797"/>
            <a:ext cx="2401824" cy="864406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0965FBBA-FD65-430D-8BAD-C0FE62C8B04D}"/>
              </a:ext>
            </a:extLst>
          </p:cNvPr>
          <p:cNvSpPr txBox="1"/>
          <p:nvPr userDrawn="1"/>
        </p:nvSpPr>
        <p:spPr>
          <a:xfrm>
            <a:off x="4876800" y="6465651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u="sng"/>
              <a:t>engie.com</a:t>
            </a:r>
          </a:p>
        </p:txBody>
      </p:sp>
    </p:spTree>
    <p:extLst>
      <p:ext uri="{BB962C8B-B14F-4D97-AF65-F5344CB8AC3E}">
        <p14:creationId xmlns:p14="http://schemas.microsoft.com/office/powerpoint/2010/main" val="34692531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fond ble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3369DADF-1092-400F-AFD1-40A48DD245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5088" y="2996797"/>
            <a:ext cx="2401824" cy="864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925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AC3BBF15-663C-4128-8EEC-EEB6F7D43110}"/>
              </a:ext>
            </a:extLst>
          </p:cNvPr>
          <p:cNvSpPr/>
          <p:nvPr userDrawn="1"/>
        </p:nvSpPr>
        <p:spPr>
          <a:xfrm>
            <a:off x="5922335" y="616689"/>
            <a:ext cx="5624623" cy="56246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10F4EDD-8ADB-46EF-99AA-0E81D31B87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63386" y="2872654"/>
            <a:ext cx="5826642" cy="676758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</a:t>
            </a:r>
          </a:p>
        </p:txBody>
      </p:sp>
      <p:sp>
        <p:nvSpPr>
          <p:cNvPr id="8" name="Espaço Reservado para Texto 7">
            <a:extLst>
              <a:ext uri="{FF2B5EF4-FFF2-40B4-BE49-F238E27FC236}">
                <a16:creationId xmlns:a16="http://schemas.microsoft.com/office/drawing/2014/main" id="{754D6A9D-CC39-45F1-B3EC-2E7FB0A1B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99991" y="3934047"/>
            <a:ext cx="2934586" cy="15761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pt-BR"/>
              <a:t>Clique para editar os estilos de texto Mestre</a:t>
            </a:r>
          </a:p>
        </p:txBody>
      </p:sp>
      <p:sp>
        <p:nvSpPr>
          <p:cNvPr id="10" name="Espaço Reservado para Texto 9">
            <a:extLst>
              <a:ext uri="{FF2B5EF4-FFF2-40B4-BE49-F238E27FC236}">
                <a16:creationId xmlns:a16="http://schemas.microsoft.com/office/drawing/2014/main" id="{9DF5623E-F322-4C7E-B6E8-31E9DF0713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15683" y="713785"/>
            <a:ext cx="1424763" cy="15859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0" b="1" baseline="0">
                <a:ln w="19050">
                  <a:solidFill>
                    <a:schemeClr val="bg1"/>
                  </a:solidFill>
                </a:ln>
                <a:noFill/>
                <a:latin typeface="Arial Black" panose="020B0A04020102020204" pitchFamily="34" charset="0"/>
              </a:defRPr>
            </a:lvl1pPr>
          </a:lstStyle>
          <a:p>
            <a:pPr lvl="0"/>
            <a:r>
              <a:rPr lang="pt-BR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162915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2115721-BDE6-AD6F-7BC8-C3031E422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35FCE3A0-BCBC-65C3-EFFD-D06CEFBD5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B7B11A4-41B1-FA0F-AAB3-989493CC0A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25B8A65C-1F08-0F62-4E7D-4391FE1FE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2044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C0D4A42E-8E09-B788-4B42-42C6A498E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04C3D31-EA98-670E-3663-5F2569344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481FC21-C1DA-08C5-CE6E-99E67EEE9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6355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47B0E5-FEBE-8EF9-5AD6-37C7B19CD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748C7FA-4FB1-6FF2-0A56-8B8EB6D373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CABFCAC-2D74-283B-B4FE-94526D627A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2234E77-C920-4298-2613-C2CC21D59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FB5E647F-12F2-FA3A-DC4E-E7D9A8DF9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C43B4BB5-D9F1-7D6E-DFF5-B07BCD1035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925572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8A98B1F-D4F3-559E-2BF9-34A3CB177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B4303C17-9390-4319-CFBB-72D61532A0A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4E0EC79F-F985-C4E4-815C-C69ED4DFC7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961594A-B09C-6386-BE6C-7575F5BAF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99D2E91-9ECF-8EB5-F19F-BEC50B17F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9AAB28D-CFB3-7099-B27F-3CB83CF69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6132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C7FEE90D-2F6A-3F5A-E617-D7D9A66984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CA92162-45E2-573B-4257-0E22D0DCB5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CCC48FA-5965-8985-8EF4-F12C53E687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26616B3-1F9D-4447-BE0B-A00E765F63BC}" type="datetimeFigureOut">
              <a:rPr lang="pt-BR" smtClean="0"/>
              <a:t>21/10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5291C34-C60D-02B9-25D1-110DD26581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DBB243C-F61F-4197-BC7A-6E58A086A8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1C25728-C0EB-4C51-A033-EC07541E80F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7764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092DC141-E070-2840-AAE8-D4896C71F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0F0D5EF-B083-154B-8292-1232F4CA2E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24113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0" r:id="rId36"/>
    <p:sldLayoutId id="2147483701" r:id="rId37"/>
    <p:sldLayoutId id="2147483702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i="0" kern="1200">
          <a:solidFill>
            <a:srgbClr val="00A3DB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ns.org.br/Paginas/resultados-da-operacao/historico-da-operacao/geracao_energia.aspx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2C1D05-E115-D82E-8409-3A9F3A225D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A708A-846B-A01D-1C42-0AB8FC9542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UPs Seminar – Learning By Doing – March 2024</a:t>
            </a:r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015927-7FE4-177E-2C7D-BC3CB1CF5A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&lt;N°&gt;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52FCE2-685F-93C1-5939-B2D2A08B811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9299" y="4108279"/>
            <a:ext cx="5106256" cy="751397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s-PE" sz="1800" dirty="0">
                <a:solidFill>
                  <a:schemeClr val="bg1"/>
                </a:solidFill>
              </a:rPr>
              <a:t>Edson Silva</a:t>
            </a:r>
          </a:p>
          <a:p>
            <a:pPr marL="0" indent="0" algn="ctr">
              <a:buNone/>
            </a:pPr>
            <a:r>
              <a:rPr lang="es-PE" sz="1800" dirty="0">
                <a:solidFill>
                  <a:schemeClr val="bg1"/>
                </a:solidFill>
              </a:rPr>
              <a:t>CEO de </a:t>
            </a:r>
            <a:r>
              <a:rPr lang="es-PE" sz="1800" dirty="0" err="1">
                <a:solidFill>
                  <a:schemeClr val="bg1"/>
                </a:solidFill>
              </a:rPr>
              <a:t>Jirau</a:t>
            </a:r>
            <a:r>
              <a:rPr lang="es-PE" sz="1800" dirty="0">
                <a:solidFill>
                  <a:schemeClr val="bg1"/>
                </a:solidFill>
              </a:rPr>
              <a:t> Energia</a:t>
            </a:r>
          </a:p>
          <a:p>
            <a:pPr marL="0" indent="0" algn="ctr">
              <a:buNone/>
            </a:pPr>
            <a:r>
              <a:rPr lang="es-PE" sz="1800" dirty="0">
                <a:solidFill>
                  <a:schemeClr val="bg1"/>
                </a:solidFill>
              </a:rPr>
              <a:t>VP Energia </a:t>
            </a:r>
            <a:r>
              <a:rPr lang="es-PE" sz="1800" dirty="0" err="1">
                <a:solidFill>
                  <a:schemeClr val="bg1"/>
                </a:solidFill>
              </a:rPr>
              <a:t>Renovável</a:t>
            </a:r>
            <a:r>
              <a:rPr lang="es-PE" sz="1800" dirty="0">
                <a:solidFill>
                  <a:schemeClr val="bg1"/>
                </a:solidFill>
              </a:rPr>
              <a:t> – </a:t>
            </a:r>
            <a:r>
              <a:rPr lang="es-PE" sz="1800" dirty="0" err="1">
                <a:solidFill>
                  <a:schemeClr val="bg1"/>
                </a:solidFill>
              </a:rPr>
              <a:t>Engie</a:t>
            </a:r>
            <a:r>
              <a:rPr lang="es-PE" sz="1800" dirty="0">
                <a:solidFill>
                  <a:schemeClr val="bg1"/>
                </a:solidFill>
              </a:rPr>
              <a:t> LATAM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435B237-44C7-7B23-F5FD-CA16510F2D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3600" y="1688400"/>
            <a:ext cx="11029614" cy="646331"/>
          </a:xfrm>
        </p:spPr>
        <p:txBody>
          <a:bodyPr/>
          <a:lstStyle/>
          <a:p>
            <a:r>
              <a:rPr lang="en-US" dirty="0"/>
              <a:t>Crise </a:t>
            </a:r>
            <a:r>
              <a:rPr lang="en-US" dirty="0" err="1"/>
              <a:t>Iminente</a:t>
            </a:r>
            <a:r>
              <a:rPr lang="en-US" dirty="0"/>
              <a:t> </a:t>
            </a:r>
            <a:r>
              <a:rPr lang="en-US" dirty="0" err="1"/>
              <a:t>ou</a:t>
            </a:r>
            <a:r>
              <a:rPr lang="en-US" dirty="0"/>
              <a:t> Permanente?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602478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20A891AD-136B-7B8C-92FA-02B3C2B0A4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0870815"/>
              </p:ext>
            </p:extLst>
          </p:nvPr>
        </p:nvGraphicFramePr>
        <p:xfrm>
          <a:off x="4755" y="1484322"/>
          <a:ext cx="8529344" cy="5293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2F35CDCB-12A5-7C3C-A693-521D78D98210}"/>
              </a:ext>
            </a:extLst>
          </p:cNvPr>
          <p:cNvSpPr txBox="1">
            <a:spLocks/>
          </p:cNvSpPr>
          <p:nvPr/>
        </p:nvSpPr>
        <p:spPr>
          <a:xfrm>
            <a:off x="266762" y="213534"/>
            <a:ext cx="11334750" cy="5232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kern="1200">
                <a:solidFill>
                  <a:srgbClr val="003C58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pt-BR" dirty="0">
                <a:latin typeface="Arial Black"/>
              </a:rPr>
              <a:t>Demanda de Energia Elétrica: Crescimento Bruto*</a:t>
            </a:r>
            <a:endParaRPr kumimoji="0" lang="pt-BR" sz="2500" b="0" i="0" u="none" strike="noStrike" kern="1200" cap="none" spc="0" normalizeH="0" baseline="0" noProof="0" dirty="0">
              <a:ln>
                <a:noFill/>
              </a:ln>
              <a:solidFill>
                <a:srgbClr val="003C58"/>
              </a:solidFill>
              <a:effectLst/>
              <a:uLnTx/>
              <a:uFillTx/>
              <a:latin typeface="Arial Black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2B0A20FD-0D66-E03B-0B7E-289C749FD272}"/>
              </a:ext>
            </a:extLst>
          </p:cNvPr>
          <p:cNvCxnSpPr/>
          <p:nvPr/>
        </p:nvCxnSpPr>
        <p:spPr>
          <a:xfrm>
            <a:off x="-4" y="1167970"/>
            <a:ext cx="4633913" cy="0"/>
          </a:xfrm>
          <a:prstGeom prst="line">
            <a:avLst/>
          </a:prstGeom>
          <a:noFill/>
          <a:ln w="31750" cap="flat" cmpd="sng" algn="ctr">
            <a:solidFill>
              <a:srgbClr val="027D95"/>
            </a:solidFill>
            <a:prstDash val="solid"/>
            <a:miter lim="800000"/>
          </a:ln>
          <a:effectLst/>
        </p:spPr>
      </p:cxn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D99BDB2F-424B-AB35-AB47-F7374BB274E2}"/>
              </a:ext>
            </a:extLst>
          </p:cNvPr>
          <p:cNvSpPr txBox="1"/>
          <p:nvPr/>
        </p:nvSpPr>
        <p:spPr>
          <a:xfrm>
            <a:off x="3447547" y="2926188"/>
            <a:ext cx="2103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2% CAGR</a:t>
            </a:r>
          </a:p>
        </p:txBody>
      </p: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B21D32CF-6AC1-EE73-18C0-FF09B7EDE3AF}"/>
              </a:ext>
            </a:extLst>
          </p:cNvPr>
          <p:cNvCxnSpPr>
            <a:cxnSpLocks/>
          </p:cNvCxnSpPr>
          <p:nvPr/>
        </p:nvCxnSpPr>
        <p:spPr>
          <a:xfrm flipV="1">
            <a:off x="3277832" y="3979421"/>
            <a:ext cx="0" cy="71153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de Seta Reta 27">
            <a:extLst>
              <a:ext uri="{FF2B5EF4-FFF2-40B4-BE49-F238E27FC236}">
                <a16:creationId xmlns:a16="http://schemas.microsoft.com/office/drawing/2014/main" id="{CCBDAB92-1C40-3C07-CFEC-E7FEB20A8490}"/>
              </a:ext>
            </a:extLst>
          </p:cNvPr>
          <p:cNvCxnSpPr>
            <a:cxnSpLocks/>
          </p:cNvCxnSpPr>
          <p:nvPr/>
        </p:nvCxnSpPr>
        <p:spPr>
          <a:xfrm>
            <a:off x="3648925" y="3294638"/>
            <a:ext cx="1724353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de Seta Reta 32">
            <a:extLst>
              <a:ext uri="{FF2B5EF4-FFF2-40B4-BE49-F238E27FC236}">
                <a16:creationId xmlns:a16="http://schemas.microsoft.com/office/drawing/2014/main" id="{1AE02895-2C69-A1A3-CED2-52C103338A5F}"/>
              </a:ext>
            </a:extLst>
          </p:cNvPr>
          <p:cNvCxnSpPr>
            <a:cxnSpLocks/>
          </p:cNvCxnSpPr>
          <p:nvPr/>
        </p:nvCxnSpPr>
        <p:spPr>
          <a:xfrm>
            <a:off x="1112716" y="4330783"/>
            <a:ext cx="2040059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to 36">
            <a:extLst>
              <a:ext uri="{FF2B5EF4-FFF2-40B4-BE49-F238E27FC236}">
                <a16:creationId xmlns:a16="http://schemas.microsoft.com/office/drawing/2014/main" id="{7254B84E-85AD-75CF-01AB-24BFCF8D1AAB}"/>
              </a:ext>
            </a:extLst>
          </p:cNvPr>
          <p:cNvCxnSpPr>
            <a:cxnSpLocks/>
          </p:cNvCxnSpPr>
          <p:nvPr/>
        </p:nvCxnSpPr>
        <p:spPr>
          <a:xfrm flipV="1">
            <a:off x="1112716" y="3789484"/>
            <a:ext cx="0" cy="191138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440863F5-692D-2B6B-92CC-6D8B1E69767D}"/>
              </a:ext>
            </a:extLst>
          </p:cNvPr>
          <p:cNvSpPr txBox="1"/>
          <p:nvPr/>
        </p:nvSpPr>
        <p:spPr>
          <a:xfrm>
            <a:off x="1265392" y="3880606"/>
            <a:ext cx="1683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4% CAGR</a:t>
            </a:r>
          </a:p>
        </p:txBody>
      </p:sp>
      <p:cxnSp>
        <p:nvCxnSpPr>
          <p:cNvPr id="47" name="Conector reto 46">
            <a:extLst>
              <a:ext uri="{FF2B5EF4-FFF2-40B4-BE49-F238E27FC236}">
                <a16:creationId xmlns:a16="http://schemas.microsoft.com/office/drawing/2014/main" id="{7F4733FD-0D7E-7176-D845-E1D9C8D6F46C}"/>
              </a:ext>
            </a:extLst>
          </p:cNvPr>
          <p:cNvCxnSpPr>
            <a:cxnSpLocks/>
          </p:cNvCxnSpPr>
          <p:nvPr/>
        </p:nvCxnSpPr>
        <p:spPr>
          <a:xfrm flipV="1">
            <a:off x="5456399" y="3035503"/>
            <a:ext cx="0" cy="51827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ector de Seta Reta 47">
            <a:extLst>
              <a:ext uri="{FF2B5EF4-FFF2-40B4-BE49-F238E27FC236}">
                <a16:creationId xmlns:a16="http://schemas.microsoft.com/office/drawing/2014/main" id="{2861C826-AF31-07F6-60A3-11C3A075E5B0}"/>
              </a:ext>
            </a:extLst>
          </p:cNvPr>
          <p:cNvCxnSpPr>
            <a:cxnSpLocks/>
          </p:cNvCxnSpPr>
          <p:nvPr/>
        </p:nvCxnSpPr>
        <p:spPr>
          <a:xfrm>
            <a:off x="5748779" y="3026004"/>
            <a:ext cx="936325" cy="7794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DE9B28B-2FD4-A71C-8695-D5F649D6BE62}"/>
              </a:ext>
            </a:extLst>
          </p:cNvPr>
          <p:cNvSpPr txBox="1"/>
          <p:nvPr/>
        </p:nvSpPr>
        <p:spPr>
          <a:xfrm>
            <a:off x="5623746" y="2339093"/>
            <a:ext cx="1146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8% CAGR</a:t>
            </a:r>
          </a:p>
        </p:txBody>
      </p:sp>
      <p:cxnSp>
        <p:nvCxnSpPr>
          <p:cNvPr id="55" name="Conector reto 54">
            <a:extLst>
              <a:ext uri="{FF2B5EF4-FFF2-40B4-BE49-F238E27FC236}">
                <a16:creationId xmlns:a16="http://schemas.microsoft.com/office/drawing/2014/main" id="{EFC1DBA2-983C-5552-5AAE-2B9BC4624B52}"/>
              </a:ext>
            </a:extLst>
          </p:cNvPr>
          <p:cNvCxnSpPr>
            <a:cxnSpLocks/>
          </p:cNvCxnSpPr>
          <p:nvPr/>
        </p:nvCxnSpPr>
        <p:spPr>
          <a:xfrm flipH="1" flipV="1">
            <a:off x="6685104" y="2790334"/>
            <a:ext cx="2446" cy="48692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E91BA749-997C-B767-D5B8-F9BA568EEF2C}"/>
              </a:ext>
            </a:extLst>
          </p:cNvPr>
          <p:cNvSpPr txBox="1"/>
          <p:nvPr/>
        </p:nvSpPr>
        <p:spPr>
          <a:xfrm>
            <a:off x="7037196" y="1659148"/>
            <a:ext cx="1240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3% CAGR</a:t>
            </a:r>
          </a:p>
        </p:txBody>
      </p:sp>
      <p:cxnSp>
        <p:nvCxnSpPr>
          <p:cNvPr id="58" name="Conector de Seta Reta 57">
            <a:extLst>
              <a:ext uri="{FF2B5EF4-FFF2-40B4-BE49-F238E27FC236}">
                <a16:creationId xmlns:a16="http://schemas.microsoft.com/office/drawing/2014/main" id="{4CE6AA53-34B6-3308-FC95-7E7197366FF4}"/>
              </a:ext>
            </a:extLst>
          </p:cNvPr>
          <p:cNvCxnSpPr>
            <a:cxnSpLocks/>
          </p:cNvCxnSpPr>
          <p:nvPr/>
        </p:nvCxnSpPr>
        <p:spPr>
          <a:xfrm>
            <a:off x="7037196" y="2073667"/>
            <a:ext cx="1240352" cy="0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id="{2EA50293-59F0-9220-A3BF-BF77AFB3733F}"/>
              </a:ext>
            </a:extLst>
          </p:cNvPr>
          <p:cNvCxnSpPr>
            <a:cxnSpLocks/>
          </p:cNvCxnSpPr>
          <p:nvPr/>
        </p:nvCxnSpPr>
        <p:spPr>
          <a:xfrm flipV="1">
            <a:off x="804422" y="5517100"/>
            <a:ext cx="0" cy="624841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to 61">
            <a:extLst>
              <a:ext uri="{FF2B5EF4-FFF2-40B4-BE49-F238E27FC236}">
                <a16:creationId xmlns:a16="http://schemas.microsoft.com/office/drawing/2014/main" id="{A5FA012B-5681-9CF1-6D0C-B6470D23CA3A}"/>
              </a:ext>
            </a:extLst>
          </p:cNvPr>
          <p:cNvCxnSpPr>
            <a:cxnSpLocks/>
          </p:cNvCxnSpPr>
          <p:nvPr/>
        </p:nvCxnSpPr>
        <p:spPr>
          <a:xfrm flipV="1">
            <a:off x="8277548" y="2477134"/>
            <a:ext cx="0" cy="3739018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de Seta Reta 63">
            <a:extLst>
              <a:ext uri="{FF2B5EF4-FFF2-40B4-BE49-F238E27FC236}">
                <a16:creationId xmlns:a16="http://schemas.microsoft.com/office/drawing/2014/main" id="{054FD3F1-1BBD-A933-E0FC-678AE073FBE1}"/>
              </a:ext>
            </a:extLst>
          </p:cNvPr>
          <p:cNvCxnSpPr>
            <a:cxnSpLocks/>
          </p:cNvCxnSpPr>
          <p:nvPr/>
        </p:nvCxnSpPr>
        <p:spPr>
          <a:xfrm>
            <a:off x="804422" y="6175571"/>
            <a:ext cx="7473126" cy="0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9AFEF99E-6561-7ADF-42C8-25EB9F04985C}"/>
              </a:ext>
            </a:extLst>
          </p:cNvPr>
          <p:cNvSpPr txBox="1"/>
          <p:nvPr/>
        </p:nvSpPr>
        <p:spPr>
          <a:xfrm>
            <a:off x="1654565" y="5806239"/>
            <a:ext cx="2103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9% CAGR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4EBEE30B-8778-D1B8-16BC-5B72BBA4C9A9}"/>
              </a:ext>
            </a:extLst>
          </p:cNvPr>
          <p:cNvSpPr txBox="1"/>
          <p:nvPr/>
        </p:nvSpPr>
        <p:spPr>
          <a:xfrm>
            <a:off x="8217541" y="2294803"/>
            <a:ext cx="12403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/2023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8%</a:t>
            </a:r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4241BF48-6675-0857-9CE1-BA62B1FBF7EB}"/>
              </a:ext>
            </a:extLst>
          </p:cNvPr>
          <p:cNvSpPr/>
          <p:nvPr/>
        </p:nvSpPr>
        <p:spPr>
          <a:xfrm>
            <a:off x="9098466" y="1844608"/>
            <a:ext cx="2942811" cy="40767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: fort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ci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4.8% é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pera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açã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ci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a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mula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 4.3%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.a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ltimo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4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ci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umula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d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00 de 2.9%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.a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sm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nd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4 crises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important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sciment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mand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ã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é u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blem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ara 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to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létrico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.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Pelo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contrário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, é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uma</a:t>
            </a:r>
            <a:r>
              <a:rPr lang="en-US" sz="14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Arial"/>
              </a:rPr>
              <a:t>virtud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3A808DDC-C557-E12F-A93F-E61919AB4C84}"/>
              </a:ext>
            </a:extLst>
          </p:cNvPr>
          <p:cNvCxnSpPr>
            <a:cxnSpLocks/>
            <a:endCxn id="57" idx="3"/>
          </p:cNvCxnSpPr>
          <p:nvPr/>
        </p:nvCxnSpPr>
        <p:spPr>
          <a:xfrm flipV="1">
            <a:off x="8268346" y="1843814"/>
            <a:ext cx="9202" cy="554004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1D99BDBA-3439-9836-6C57-DF8B9A28D500}"/>
              </a:ext>
            </a:extLst>
          </p:cNvPr>
          <p:cNvCxnSpPr>
            <a:cxnSpLocks/>
          </p:cNvCxnSpPr>
          <p:nvPr/>
        </p:nvCxnSpPr>
        <p:spPr>
          <a:xfrm flipV="1">
            <a:off x="3570063" y="3026004"/>
            <a:ext cx="0" cy="166494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to 48">
            <a:extLst>
              <a:ext uri="{FF2B5EF4-FFF2-40B4-BE49-F238E27FC236}">
                <a16:creationId xmlns:a16="http://schemas.microsoft.com/office/drawing/2014/main" id="{886E42C6-FEA7-F6B5-79C4-B8F6213626AE}"/>
              </a:ext>
            </a:extLst>
          </p:cNvPr>
          <p:cNvCxnSpPr>
            <a:cxnSpLocks/>
          </p:cNvCxnSpPr>
          <p:nvPr/>
        </p:nvCxnSpPr>
        <p:spPr>
          <a:xfrm flipV="1">
            <a:off x="5748779" y="2926188"/>
            <a:ext cx="0" cy="61808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id="{17BAA70E-B6EF-BCA3-51E4-FE1FD88B6D61}"/>
              </a:ext>
            </a:extLst>
          </p:cNvPr>
          <p:cNvCxnSpPr>
            <a:cxnSpLocks/>
          </p:cNvCxnSpPr>
          <p:nvPr/>
        </p:nvCxnSpPr>
        <p:spPr>
          <a:xfrm flipV="1">
            <a:off x="6979929" y="1934509"/>
            <a:ext cx="0" cy="1424043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A9493D33-C43F-9E80-4A86-7FB1835BCD45}"/>
              </a:ext>
            </a:extLst>
          </p:cNvPr>
          <p:cNvSpPr txBox="1"/>
          <p:nvPr/>
        </p:nvSpPr>
        <p:spPr>
          <a:xfrm>
            <a:off x="569401" y="5694615"/>
            <a:ext cx="11984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cionamento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67213C57-10E7-A5C7-87CA-0FDDDBDB7071}"/>
              </a:ext>
            </a:extLst>
          </p:cNvPr>
          <p:cNvSpPr txBox="1"/>
          <p:nvPr/>
        </p:nvSpPr>
        <p:spPr>
          <a:xfrm>
            <a:off x="3042261" y="4724581"/>
            <a:ext cx="1198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ie Financeira Global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8C1DDAE6-DA2F-11AD-5CD9-741F94530AA7}"/>
              </a:ext>
            </a:extLst>
          </p:cNvPr>
          <p:cNvSpPr txBox="1"/>
          <p:nvPr/>
        </p:nvSpPr>
        <p:spPr>
          <a:xfrm>
            <a:off x="5263754" y="3640140"/>
            <a:ext cx="1198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essão Econômica no Brasil</a:t>
            </a: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CA5CCF64-5E8B-DE98-657E-54A913970AF5}"/>
              </a:ext>
            </a:extLst>
          </p:cNvPr>
          <p:cNvSpPr txBox="1"/>
          <p:nvPr/>
        </p:nvSpPr>
        <p:spPr>
          <a:xfrm>
            <a:off x="6593160" y="3395193"/>
            <a:ext cx="11984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ID-19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C79EBBC2-D557-2176-A706-974E05DAE0B8}"/>
              </a:ext>
            </a:extLst>
          </p:cNvPr>
          <p:cNvSpPr txBox="1"/>
          <p:nvPr/>
        </p:nvSpPr>
        <p:spPr>
          <a:xfrm>
            <a:off x="9356651" y="6315740"/>
            <a:ext cx="2616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* </a:t>
            </a:r>
            <a:r>
              <a:rPr lang="pt-BR" sz="1400" dirty="0">
                <a:solidFill>
                  <a:srgbClr val="FF0000"/>
                </a:solidFill>
              </a:rPr>
              <a:t>Inclui demanda suprida por GD</a:t>
            </a:r>
          </a:p>
        </p:txBody>
      </p:sp>
    </p:spTree>
    <p:extLst>
      <p:ext uri="{BB962C8B-B14F-4D97-AF65-F5344CB8AC3E}">
        <p14:creationId xmlns:p14="http://schemas.microsoft.com/office/powerpoint/2010/main" val="1241513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2CFCEE7-8920-DEF9-8D78-61E914ACE7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8307" y="202005"/>
            <a:ext cx="6087144" cy="879339"/>
          </a:xfrm>
        </p:spPr>
        <p:txBody>
          <a:bodyPr/>
          <a:lstStyle/>
          <a:p>
            <a:r>
              <a:rPr lang="pt-BR" dirty="0" err="1"/>
              <a:t>KPI´s</a:t>
            </a:r>
            <a:r>
              <a:rPr lang="pt-BR" dirty="0"/>
              <a:t> do Sistema: ENA/MLT, GSF, EVT, PLD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058A6C2-6848-35B0-439F-4001FC1D26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42708" y="6742543"/>
            <a:ext cx="367408" cy="215444"/>
          </a:xfrm>
        </p:spPr>
        <p:txBody>
          <a:bodyPr/>
          <a:lstStyle/>
          <a:p>
            <a:fld id="{BC367B2E-B9DF-44EB-A21A-64C9723206C9}" type="slidenum">
              <a:rPr lang="fr-FR" smtClean="0"/>
              <a:pPr/>
              <a:t>3</a:t>
            </a:fld>
            <a:endParaRPr lang="fr-FR"/>
          </a:p>
        </p:txBody>
      </p: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AB180FDC-0CAC-4DA4-BE07-FF62F17809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2783487"/>
              </p:ext>
            </p:extLst>
          </p:nvPr>
        </p:nvGraphicFramePr>
        <p:xfrm>
          <a:off x="552450" y="1243013"/>
          <a:ext cx="11231119" cy="2733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95045D38-90B7-8FA0-665B-97846BB611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755390"/>
              </p:ext>
            </p:extLst>
          </p:nvPr>
        </p:nvGraphicFramePr>
        <p:xfrm>
          <a:off x="266762" y="4815690"/>
          <a:ext cx="11516807" cy="2022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9FB08F60-433D-AD5F-2FE7-FD779BDDF8BE}"/>
              </a:ext>
            </a:extLst>
          </p:cNvPr>
          <p:cNvCxnSpPr>
            <a:cxnSpLocks/>
          </p:cNvCxnSpPr>
          <p:nvPr/>
        </p:nvCxnSpPr>
        <p:spPr>
          <a:xfrm>
            <a:off x="1497878" y="4578026"/>
            <a:ext cx="151030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FC52A1C2-8D30-26CA-7B44-2737857F9CE8}"/>
              </a:ext>
            </a:extLst>
          </p:cNvPr>
          <p:cNvCxnSpPr>
            <a:cxnSpLocks/>
          </p:cNvCxnSpPr>
          <p:nvPr/>
        </p:nvCxnSpPr>
        <p:spPr>
          <a:xfrm>
            <a:off x="2905437" y="4578026"/>
            <a:ext cx="3359650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Conector de Seta Reta 14">
            <a:extLst>
              <a:ext uri="{FF2B5EF4-FFF2-40B4-BE49-F238E27FC236}">
                <a16:creationId xmlns:a16="http://schemas.microsoft.com/office/drawing/2014/main" id="{8994E6E6-7908-A275-DAC1-7A3175C7BC27}"/>
              </a:ext>
            </a:extLst>
          </p:cNvPr>
          <p:cNvCxnSpPr>
            <a:cxnSpLocks/>
          </p:cNvCxnSpPr>
          <p:nvPr/>
        </p:nvCxnSpPr>
        <p:spPr>
          <a:xfrm>
            <a:off x="6265087" y="4578026"/>
            <a:ext cx="2085654" cy="0"/>
          </a:xfrm>
          <a:prstGeom prst="straightConnector1">
            <a:avLst/>
          </a:prstGeom>
          <a:ln>
            <a:solidFill>
              <a:srgbClr val="FFC0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de Seta Reta 17">
            <a:extLst>
              <a:ext uri="{FF2B5EF4-FFF2-40B4-BE49-F238E27FC236}">
                <a16:creationId xmlns:a16="http://schemas.microsoft.com/office/drawing/2014/main" id="{35CC6EE9-F25F-1BFC-CCFA-5BECA276DB8E}"/>
              </a:ext>
            </a:extLst>
          </p:cNvPr>
          <p:cNvCxnSpPr/>
          <p:nvPr/>
        </p:nvCxnSpPr>
        <p:spPr>
          <a:xfrm>
            <a:off x="8350741" y="4578026"/>
            <a:ext cx="127399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ector de Seta Reta 19">
            <a:extLst>
              <a:ext uri="{FF2B5EF4-FFF2-40B4-BE49-F238E27FC236}">
                <a16:creationId xmlns:a16="http://schemas.microsoft.com/office/drawing/2014/main" id="{E2501C73-5E72-8548-E0A2-14DC258063D6}"/>
              </a:ext>
            </a:extLst>
          </p:cNvPr>
          <p:cNvCxnSpPr>
            <a:cxnSpLocks/>
          </p:cNvCxnSpPr>
          <p:nvPr/>
        </p:nvCxnSpPr>
        <p:spPr>
          <a:xfrm>
            <a:off x="9624736" y="4578026"/>
            <a:ext cx="121235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12240EC0-8BC0-D413-5794-AB826F51FFDF}"/>
              </a:ext>
            </a:extLst>
          </p:cNvPr>
          <p:cNvSpPr txBox="1"/>
          <p:nvPr/>
        </p:nvSpPr>
        <p:spPr>
          <a:xfrm>
            <a:off x="1767155" y="3920155"/>
            <a:ext cx="708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FHC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02A4A27C-42E1-0A52-F339-3B7162F27A2B}"/>
              </a:ext>
            </a:extLst>
          </p:cNvPr>
          <p:cNvSpPr txBox="1"/>
          <p:nvPr/>
        </p:nvSpPr>
        <p:spPr>
          <a:xfrm>
            <a:off x="4150759" y="3906575"/>
            <a:ext cx="708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LULA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F4682A4D-03AB-4C32-6FF4-3B0EFD09F5F9}"/>
              </a:ext>
            </a:extLst>
          </p:cNvPr>
          <p:cNvSpPr txBox="1"/>
          <p:nvPr/>
        </p:nvSpPr>
        <p:spPr>
          <a:xfrm>
            <a:off x="6924782" y="3949619"/>
            <a:ext cx="7089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DILMA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864E38DE-678A-574E-1E51-F67645C206C3}"/>
              </a:ext>
            </a:extLst>
          </p:cNvPr>
          <p:cNvSpPr txBox="1"/>
          <p:nvPr/>
        </p:nvSpPr>
        <p:spPr>
          <a:xfrm>
            <a:off x="8517276" y="3920154"/>
            <a:ext cx="8493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TEMER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1C8ED10D-9820-48FA-FE84-60F968DCF18C}"/>
              </a:ext>
            </a:extLst>
          </p:cNvPr>
          <p:cNvSpPr txBox="1"/>
          <p:nvPr/>
        </p:nvSpPr>
        <p:spPr>
          <a:xfrm>
            <a:off x="9635447" y="3906575"/>
            <a:ext cx="12294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BOLSONARO</a:t>
            </a:r>
          </a:p>
        </p:txBody>
      </p:sp>
      <p:cxnSp>
        <p:nvCxnSpPr>
          <p:cNvPr id="33" name="Conector de Seta Reta 32">
            <a:extLst>
              <a:ext uri="{FF2B5EF4-FFF2-40B4-BE49-F238E27FC236}">
                <a16:creationId xmlns:a16="http://schemas.microsoft.com/office/drawing/2014/main" id="{757328A7-E4E5-A393-FFCA-99FD82E99F93}"/>
              </a:ext>
            </a:extLst>
          </p:cNvPr>
          <p:cNvCxnSpPr/>
          <p:nvPr/>
        </p:nvCxnSpPr>
        <p:spPr>
          <a:xfrm>
            <a:off x="10944965" y="4573004"/>
            <a:ext cx="344185" cy="0"/>
          </a:xfrm>
          <a:prstGeom prst="straightConnector1">
            <a:avLst/>
          </a:prstGeom>
          <a:ln>
            <a:solidFill>
              <a:srgbClr val="FF00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A9030D96-9579-47CD-7DF1-253207DD223E}"/>
              </a:ext>
            </a:extLst>
          </p:cNvPr>
          <p:cNvSpPr txBox="1"/>
          <p:nvPr/>
        </p:nvSpPr>
        <p:spPr>
          <a:xfrm>
            <a:off x="10889751" y="3919019"/>
            <a:ext cx="6215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LULA</a:t>
            </a:r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8C2D71B6-A2D1-AC3B-D425-E42D9F9E4C61}"/>
              </a:ext>
            </a:extLst>
          </p:cNvPr>
          <p:cNvSpPr/>
          <p:nvPr/>
        </p:nvSpPr>
        <p:spPr>
          <a:xfrm>
            <a:off x="5593531" y="5308396"/>
            <a:ext cx="1947767" cy="358541"/>
          </a:xfrm>
          <a:prstGeom prst="ellipse">
            <a:avLst/>
          </a:prstGeom>
          <a:solidFill>
            <a:schemeClr val="bg1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FF0000"/>
                </a:solidFill>
              </a:rPr>
              <a:t>MP 579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42441F6C-6190-87D5-4C5E-D2E672B51D4C}"/>
              </a:ext>
            </a:extLst>
          </p:cNvPr>
          <p:cNvSpPr/>
          <p:nvPr/>
        </p:nvSpPr>
        <p:spPr>
          <a:xfrm>
            <a:off x="3611377" y="4881917"/>
            <a:ext cx="1947767" cy="358541"/>
          </a:xfrm>
          <a:prstGeom prst="ellipse">
            <a:avLst/>
          </a:prstGeom>
          <a:solidFill>
            <a:schemeClr val="bg1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FF0000"/>
                </a:solidFill>
              </a:rPr>
              <a:t>Crise do Gás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80FB3D48-B029-C113-B668-2C95222511E8}"/>
              </a:ext>
            </a:extLst>
          </p:cNvPr>
          <p:cNvSpPr/>
          <p:nvPr/>
        </p:nvSpPr>
        <p:spPr>
          <a:xfrm>
            <a:off x="1351262" y="5034317"/>
            <a:ext cx="1947767" cy="358541"/>
          </a:xfrm>
          <a:prstGeom prst="ellipse">
            <a:avLst/>
          </a:prstGeom>
          <a:solidFill>
            <a:schemeClr val="bg1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FF0000"/>
                </a:solidFill>
              </a:rPr>
              <a:t>Racionamento</a:t>
            </a: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98F502A3-458F-61C1-E54C-1E2DF97EDC62}"/>
              </a:ext>
            </a:extLst>
          </p:cNvPr>
          <p:cNvSpPr/>
          <p:nvPr/>
        </p:nvSpPr>
        <p:spPr>
          <a:xfrm>
            <a:off x="9341383" y="5487666"/>
            <a:ext cx="1947767" cy="358541"/>
          </a:xfrm>
          <a:prstGeom prst="ellipse">
            <a:avLst/>
          </a:prstGeom>
          <a:solidFill>
            <a:schemeClr val="bg1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>
                <a:solidFill>
                  <a:srgbClr val="FF0000"/>
                </a:solidFill>
              </a:rPr>
              <a:t>Crise Hídrica</a:t>
            </a:r>
          </a:p>
        </p:txBody>
      </p:sp>
    </p:spTree>
    <p:extLst>
      <p:ext uri="{BB962C8B-B14F-4D97-AF65-F5344CB8AC3E}">
        <p14:creationId xmlns:p14="http://schemas.microsoft.com/office/powerpoint/2010/main" val="39272199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Espaço Reservado para Texto 2">
            <a:extLst>
              <a:ext uri="{FF2B5EF4-FFF2-40B4-BE49-F238E27FC236}">
                <a16:creationId xmlns:a16="http://schemas.microsoft.com/office/drawing/2014/main" id="{4E1AD52D-1963-9091-A899-1952E6BA6F9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51025" y="334964"/>
            <a:ext cx="8489950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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31800" indent="-250825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574675" indent="-142875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827088" indent="-250825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—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971550" indent="-142875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428750" indent="-142875" eaLnBrk="0" fontAlgn="base" hangingPunct="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85950" indent="-142875" eaLnBrk="0" fontAlgn="base" hangingPunct="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343150" indent="-142875" eaLnBrk="0" fontAlgn="base" hangingPunct="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800350" indent="-142875" eaLnBrk="0" fontAlgn="base" hangingPunct="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25000"/>
              <a:buFontTx/>
              <a:buBlip>
                <a:blip r:embed="rId3"/>
              </a:buBlip>
            </a:pPr>
            <a:r>
              <a:rPr lang="pt-BR" altLang="pt-BR" sz="2300" dirty="0">
                <a:solidFill>
                  <a:schemeClr val="accent1"/>
                </a:solidFill>
              </a:rPr>
              <a:t>“Aperfeiçoamentos” do PLD </a:t>
            </a:r>
          </a:p>
        </p:txBody>
      </p:sp>
      <p:graphicFrame>
        <p:nvGraphicFramePr>
          <p:cNvPr id="46083" name="Gráfico 40">
            <a:extLst>
              <a:ext uri="{FF2B5EF4-FFF2-40B4-BE49-F238E27FC236}">
                <a16:creationId xmlns:a16="http://schemas.microsoft.com/office/drawing/2014/main" id="{DA12AF19-E58E-570E-65B9-CF79AABB9BDA}"/>
              </a:ext>
            </a:extLst>
          </p:cNvPr>
          <p:cNvGraphicFramePr>
            <a:graphicFrameLocks noGrp="1"/>
          </p:cNvGraphicFramePr>
          <p:nvPr/>
        </p:nvGraphicFramePr>
        <p:xfrm>
          <a:off x="1541464" y="1414463"/>
          <a:ext cx="9069387" cy="4043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4" imgW="9077731" imgH="4054191" progId="Excel.Chart.8">
                  <p:embed/>
                </p:oleObj>
              </mc:Choice>
              <mc:Fallback>
                <p:oleObj name="Chart" r:id="rId4" imgW="9077731" imgH="4054191" progId="Excel.Chart.8">
                  <p:embed/>
                  <p:pic>
                    <p:nvPicPr>
                      <p:cNvPr id="46083" name="Gráfico 40">
                        <a:extLst>
                          <a:ext uri="{FF2B5EF4-FFF2-40B4-BE49-F238E27FC236}">
                            <a16:creationId xmlns:a16="http://schemas.microsoft.com/office/drawing/2014/main" id="{DA12AF19-E58E-570E-65B9-CF79AABB9BDA}"/>
                          </a:ext>
                        </a:extLst>
                      </p:cNvPr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1464" y="1414463"/>
                        <a:ext cx="9069387" cy="4043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tângulo 12">
            <a:extLst>
              <a:ext uri="{FF2B5EF4-FFF2-40B4-BE49-F238E27FC236}">
                <a16:creationId xmlns:a16="http://schemas.microsoft.com/office/drawing/2014/main" id="{F877A138-9B80-8A7D-E9BE-20616857FAC7}"/>
              </a:ext>
            </a:extLst>
          </p:cNvPr>
          <p:cNvSpPr/>
          <p:nvPr/>
        </p:nvSpPr>
        <p:spPr>
          <a:xfrm>
            <a:off x="3455989" y="2032001"/>
            <a:ext cx="1577975" cy="2487613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075FF577-A766-9238-9FD5-613348684014}"/>
              </a:ext>
            </a:extLst>
          </p:cNvPr>
          <p:cNvSpPr/>
          <p:nvPr/>
        </p:nvSpPr>
        <p:spPr>
          <a:xfrm>
            <a:off x="7177088" y="2032001"/>
            <a:ext cx="233362" cy="2487613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D6409690-311D-7386-F867-5B1C6191B194}"/>
              </a:ext>
            </a:extLst>
          </p:cNvPr>
          <p:cNvSpPr/>
          <p:nvPr/>
        </p:nvSpPr>
        <p:spPr>
          <a:xfrm>
            <a:off x="7410451" y="2032001"/>
            <a:ext cx="2371725" cy="2487613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C95A7AEF-4969-DF10-F237-76F15D9450DF}"/>
              </a:ext>
            </a:extLst>
          </p:cNvPr>
          <p:cNvSpPr/>
          <p:nvPr/>
        </p:nvSpPr>
        <p:spPr>
          <a:xfrm>
            <a:off x="2790826" y="2035175"/>
            <a:ext cx="665163" cy="2484438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BF957397-BBE8-1F45-8FD4-057BB7AA92F4}"/>
              </a:ext>
            </a:extLst>
          </p:cNvPr>
          <p:cNvSpPr/>
          <p:nvPr/>
        </p:nvSpPr>
        <p:spPr>
          <a:xfrm>
            <a:off x="5033963" y="2035175"/>
            <a:ext cx="438150" cy="2484438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grpSp>
        <p:nvGrpSpPr>
          <p:cNvPr id="58" name="Agrupar 57">
            <a:extLst>
              <a:ext uri="{FF2B5EF4-FFF2-40B4-BE49-F238E27FC236}">
                <a16:creationId xmlns:a16="http://schemas.microsoft.com/office/drawing/2014/main" id="{3DBB5D19-C883-2E38-645C-E4CFBA7554DA}"/>
              </a:ext>
            </a:extLst>
          </p:cNvPr>
          <p:cNvGrpSpPr>
            <a:grpSpLocks/>
          </p:cNvGrpSpPr>
          <p:nvPr/>
        </p:nvGrpSpPr>
        <p:grpSpPr bwMode="auto">
          <a:xfrm>
            <a:off x="2532063" y="1306513"/>
            <a:ext cx="1490196" cy="3213100"/>
            <a:chOff x="903994" y="1306573"/>
            <a:chExt cx="1488926" cy="3212284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C9547DF9-80B5-9ABD-5131-5BC25926FDDC}"/>
                </a:ext>
              </a:extLst>
            </p:cNvPr>
            <p:cNvSpPr/>
            <p:nvPr/>
          </p:nvSpPr>
          <p:spPr>
            <a:xfrm>
              <a:off x="903994" y="2031876"/>
              <a:ext cx="258541" cy="2486981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8956" name="CaixaDeTexto 24">
              <a:extLst>
                <a:ext uri="{FF2B5EF4-FFF2-40B4-BE49-F238E27FC236}">
                  <a16:creationId xmlns:a16="http://schemas.microsoft.com/office/drawing/2014/main" id="{988ECB9D-9169-10E2-D125-CC94F11ACD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25909" y="1306573"/>
              <a:ext cx="1067011" cy="2615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FF3300"/>
                </a:buClr>
                <a:buChar char="•"/>
                <a:defRPr sz="2400">
                  <a:solidFill>
                    <a:schemeClr val="tx2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FF3300"/>
                </a:buClr>
                <a:buChar char="–"/>
                <a:defRPr sz="2000">
                  <a:solidFill>
                    <a:schemeClr val="tx2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F3300"/>
                </a:buClr>
                <a:buChar char="»"/>
                <a:defRPr>
                  <a:solidFill>
                    <a:schemeClr val="tx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FF3300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pt-BR" altLang="pt-BR" sz="1100" dirty="0">
                  <a:solidFill>
                    <a:schemeClr val="accent4"/>
                  </a:solidFill>
                  <a:latin typeface="Tahoma" panose="020B0604030504040204" pitchFamily="34" charset="0"/>
                </a:rPr>
                <a:t>Racionamento</a:t>
              </a:r>
            </a:p>
          </p:txBody>
        </p:sp>
        <p:cxnSp>
          <p:nvCxnSpPr>
            <p:cNvPr id="26" name="Conector Angulado 5">
              <a:extLst>
                <a:ext uri="{FF2B5EF4-FFF2-40B4-BE49-F238E27FC236}">
                  <a16:creationId xmlns:a16="http://schemas.microsoft.com/office/drawing/2014/main" id="{C5EC7572-C0B1-CC5E-4B2F-BFE420F8CCA6}"/>
                </a:ext>
              </a:extLst>
            </p:cNvPr>
            <p:cNvCxnSpPr>
              <a:stCxn id="12" idx="0"/>
              <a:endCxn id="38956" idx="1"/>
            </p:cNvCxnSpPr>
            <p:nvPr/>
          </p:nvCxnSpPr>
          <p:spPr>
            <a:xfrm rot="5400000" flipH="1" flipV="1">
              <a:off x="882321" y="1588288"/>
              <a:ext cx="594531" cy="292644"/>
            </a:xfrm>
            <a:prstGeom prst="bentConnector2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7E3A91C9-BBF1-6535-6088-71147F7E1D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2151" y="1549400"/>
            <a:ext cx="955711" cy="26161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pt-BR" altLang="pt-BR" sz="1100" dirty="0">
                <a:solidFill>
                  <a:schemeClr val="accent4"/>
                </a:solidFill>
                <a:latin typeface="Tahoma" panose="020B0604030504040204" pitchFamily="34" charset="0"/>
              </a:rPr>
              <a:t>CAR externa</a:t>
            </a:r>
          </a:p>
        </p:txBody>
      </p:sp>
      <p:cxnSp>
        <p:nvCxnSpPr>
          <p:cNvPr id="28" name="Conector Angulado 41">
            <a:extLst>
              <a:ext uri="{FF2B5EF4-FFF2-40B4-BE49-F238E27FC236}">
                <a16:creationId xmlns:a16="http://schemas.microsoft.com/office/drawing/2014/main" id="{A2CCDBDE-7E3D-0893-ACBF-E78E78D2E35A}"/>
              </a:ext>
            </a:extLst>
          </p:cNvPr>
          <p:cNvCxnSpPr>
            <a:cxnSpLocks/>
            <a:stCxn id="23" idx="0"/>
            <a:endCxn id="27" idx="1"/>
          </p:cNvCxnSpPr>
          <p:nvPr/>
        </p:nvCxnSpPr>
        <p:spPr>
          <a:xfrm rot="5400000" flipH="1" flipV="1">
            <a:off x="3000293" y="1803320"/>
            <a:ext cx="354970" cy="108743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14691507-33EB-17FF-29CF-64CAD0A46A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68813" y="1700213"/>
            <a:ext cx="442750" cy="26161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pt-BR" altLang="pt-BR" sz="1100" dirty="0">
                <a:solidFill>
                  <a:schemeClr val="accent4"/>
                </a:solidFill>
                <a:latin typeface="Tahoma" panose="020B0604030504040204" pitchFamily="34" charset="0"/>
              </a:rPr>
              <a:t>CAR</a:t>
            </a:r>
          </a:p>
        </p:txBody>
      </p:sp>
      <p:cxnSp>
        <p:nvCxnSpPr>
          <p:cNvPr id="30" name="Conector Angulado 43">
            <a:extLst>
              <a:ext uri="{FF2B5EF4-FFF2-40B4-BE49-F238E27FC236}">
                <a16:creationId xmlns:a16="http://schemas.microsoft.com/office/drawing/2014/main" id="{5D3E52D6-8A61-6846-D9C9-F62BFB8A4A33}"/>
              </a:ext>
            </a:extLst>
          </p:cNvPr>
          <p:cNvCxnSpPr>
            <a:stCxn id="13" idx="0"/>
            <a:endCxn id="29" idx="1"/>
          </p:cNvCxnSpPr>
          <p:nvPr/>
        </p:nvCxnSpPr>
        <p:spPr>
          <a:xfrm rot="5400000" flipH="1" flipV="1">
            <a:off x="4256403" y="1819592"/>
            <a:ext cx="200982" cy="223837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30E0BF6C-92C6-073F-5062-427ABC98D6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9725" y="1504951"/>
            <a:ext cx="635110" cy="43088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pt-BR" altLang="pt-BR" sz="1100">
                <a:solidFill>
                  <a:schemeClr val="accent4"/>
                </a:solidFill>
                <a:latin typeface="Tahoma" panose="020B0604030504040204" pitchFamily="34" charset="0"/>
              </a:rPr>
              <a:t>CAR + </a:t>
            </a:r>
          </a:p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pt-BR" altLang="pt-BR" sz="1100">
                <a:solidFill>
                  <a:schemeClr val="accent4"/>
                </a:solidFill>
                <a:latin typeface="Tahoma" panose="020B0604030504040204" pitchFamily="34" charset="0"/>
              </a:rPr>
              <a:t>GFOM</a:t>
            </a:r>
          </a:p>
        </p:txBody>
      </p:sp>
      <p:cxnSp>
        <p:nvCxnSpPr>
          <p:cNvPr id="32" name="Conector Angulado 48">
            <a:extLst>
              <a:ext uri="{FF2B5EF4-FFF2-40B4-BE49-F238E27FC236}">
                <a16:creationId xmlns:a16="http://schemas.microsoft.com/office/drawing/2014/main" id="{A6EE391C-2B43-BDEE-72B4-FACD8EC11AC7}"/>
              </a:ext>
            </a:extLst>
          </p:cNvPr>
          <p:cNvCxnSpPr>
            <a:stCxn id="24" idx="0"/>
            <a:endCxn id="31" idx="1"/>
          </p:cNvCxnSpPr>
          <p:nvPr/>
        </p:nvCxnSpPr>
        <p:spPr>
          <a:xfrm rot="5400000" flipH="1" flipV="1">
            <a:off x="5178992" y="1794443"/>
            <a:ext cx="314781" cy="166687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50AC4E8B-4DCB-E308-27B0-A2F0C05B98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3475" y="1474788"/>
            <a:ext cx="1324402" cy="26161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pt-BR" altLang="pt-BR" sz="1100" dirty="0">
                <a:solidFill>
                  <a:schemeClr val="accent4"/>
                </a:solidFill>
                <a:latin typeface="Tahoma" panose="020B0604030504040204" pitchFamily="34" charset="0"/>
              </a:rPr>
              <a:t>CAR5 + Delta PLD</a:t>
            </a:r>
          </a:p>
        </p:txBody>
      </p:sp>
      <p:cxnSp>
        <p:nvCxnSpPr>
          <p:cNvPr id="35" name="Conector Angulado 58">
            <a:extLst>
              <a:ext uri="{FF2B5EF4-FFF2-40B4-BE49-F238E27FC236}">
                <a16:creationId xmlns:a16="http://schemas.microsoft.com/office/drawing/2014/main" id="{8E915239-7114-62C1-6028-E6B4861CA223}"/>
              </a:ext>
            </a:extLst>
          </p:cNvPr>
          <p:cNvCxnSpPr>
            <a:stCxn id="15" idx="0"/>
            <a:endCxn id="34" idx="1"/>
          </p:cNvCxnSpPr>
          <p:nvPr/>
        </p:nvCxnSpPr>
        <p:spPr>
          <a:xfrm rot="5400000" flipH="1" flipV="1">
            <a:off x="7175420" y="1723944"/>
            <a:ext cx="426407" cy="189706"/>
          </a:xfrm>
          <a:prstGeom prst="bentConnector2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656EF5EB-E8D3-ED88-6D2C-9296116092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7550" y="1700213"/>
            <a:ext cx="516488" cy="26161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r>
              <a:rPr lang="pt-BR" altLang="pt-BR" sz="1100">
                <a:solidFill>
                  <a:schemeClr val="accent4"/>
                </a:solidFill>
                <a:latin typeface="Tahoma" panose="020B0604030504040204" pitchFamily="34" charset="0"/>
              </a:rPr>
              <a:t>CVaR</a:t>
            </a:r>
          </a:p>
        </p:txBody>
      </p:sp>
      <p:cxnSp>
        <p:nvCxnSpPr>
          <p:cNvPr id="37" name="Conector Angulado 63">
            <a:extLst>
              <a:ext uri="{FF2B5EF4-FFF2-40B4-BE49-F238E27FC236}">
                <a16:creationId xmlns:a16="http://schemas.microsoft.com/office/drawing/2014/main" id="{C2FF2B9E-2B42-DB78-6D69-2E3AA54461D3}"/>
              </a:ext>
            </a:extLst>
          </p:cNvPr>
          <p:cNvCxnSpPr>
            <a:cxnSpLocks/>
          </p:cNvCxnSpPr>
          <p:nvPr/>
        </p:nvCxnSpPr>
        <p:spPr>
          <a:xfrm flipV="1">
            <a:off x="8112126" y="1841500"/>
            <a:ext cx="225425" cy="192088"/>
          </a:xfrm>
          <a:prstGeom prst="bentConnector3">
            <a:avLst>
              <a:gd name="adj1" fmla="val 50000"/>
            </a:avLst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82BC3C2E-611C-11FB-CA80-93523C6789F4}"/>
              </a:ext>
            </a:extLst>
          </p:cNvPr>
          <p:cNvGrpSpPr>
            <a:grpSpLocks/>
          </p:cNvGrpSpPr>
          <p:nvPr/>
        </p:nvGrpSpPr>
        <p:grpSpPr bwMode="auto">
          <a:xfrm>
            <a:off x="8161339" y="2032000"/>
            <a:ext cx="2244725" cy="3246438"/>
            <a:chOff x="6636659" y="2989175"/>
            <a:chExt cx="2244868" cy="3245906"/>
          </a:xfrm>
        </p:grpSpPr>
        <p:cxnSp>
          <p:nvCxnSpPr>
            <p:cNvPr id="38" name="Conector Angulado 97">
              <a:extLst>
                <a:ext uri="{FF2B5EF4-FFF2-40B4-BE49-F238E27FC236}">
                  <a16:creationId xmlns:a16="http://schemas.microsoft.com/office/drawing/2014/main" id="{912D877B-D4C0-8FE8-9422-5947C9038506}"/>
                </a:ext>
              </a:extLst>
            </p:cNvPr>
            <p:cNvCxnSpPr>
              <a:cxnSpLocks/>
              <a:stCxn id="39" idx="2"/>
              <a:endCxn id="46120" idx="1"/>
            </p:cNvCxnSpPr>
            <p:nvPr/>
          </p:nvCxnSpPr>
          <p:spPr>
            <a:xfrm rot="16200000" flipH="1">
              <a:off x="7447144" y="5967616"/>
              <a:ext cx="136503" cy="138121"/>
            </a:xfrm>
            <a:prstGeom prst="bentConnector2">
              <a:avLst/>
            </a:prstGeom>
            <a:ln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119" name="Agrupar 58">
              <a:extLst>
                <a:ext uri="{FF2B5EF4-FFF2-40B4-BE49-F238E27FC236}">
                  <a16:creationId xmlns:a16="http://schemas.microsoft.com/office/drawing/2014/main" id="{2D246AB5-C422-4323-6631-FB386B8BE3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36659" y="2989175"/>
              <a:ext cx="2244868" cy="3245906"/>
              <a:chOff x="6636659" y="2590593"/>
              <a:chExt cx="2244868" cy="3245906"/>
            </a:xfrm>
          </p:grpSpPr>
          <p:sp>
            <p:nvSpPr>
              <p:cNvPr id="46120" name="CaixaDeTexto 21">
                <a:extLst>
                  <a:ext uri="{FF2B5EF4-FFF2-40B4-BE49-F238E27FC236}">
                    <a16:creationId xmlns:a16="http://schemas.microsoft.com/office/drawing/2014/main" id="{D45FC3D5-8DAF-43C4-D91E-7572CA2A3CD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584388" y="5574905"/>
                <a:ext cx="1297139" cy="2615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1pPr>
                <a:lvl2pPr marL="742950" indent="-285750"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2pPr>
                <a:lvl3pPr marL="1143000" indent="-228600"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3pPr>
                <a:lvl4pPr marL="1600200" indent="-228600"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4pPr>
                <a:lvl5pPr marL="2057400" indent="-228600"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>
                    <a:solidFill>
                      <a:srgbClr val="F0490F"/>
                    </a:solidFill>
                    <a:latin typeface="Tahoma" panose="020B0604030504040204" pitchFamily="34" charset="0"/>
                  </a:defRPr>
                </a:lvl9pPr>
              </a:lstStyle>
              <a:p>
                <a:r>
                  <a:rPr lang="pt-BR" altLang="pt-BR" sz="1100" dirty="0">
                    <a:solidFill>
                      <a:schemeClr val="accent2"/>
                    </a:solidFill>
                  </a:rPr>
                  <a:t>Incerteza carga</a:t>
                </a:r>
              </a:p>
            </p:txBody>
          </p:sp>
          <p:sp>
            <p:nvSpPr>
              <p:cNvPr id="39" name="Retângulo 38">
                <a:extLst>
                  <a:ext uri="{FF2B5EF4-FFF2-40B4-BE49-F238E27FC236}">
                    <a16:creationId xmlns:a16="http://schemas.microsoft.com/office/drawing/2014/main" id="{B86902BE-6758-D174-A7CA-9E23B5214E87}"/>
                  </a:ext>
                </a:extLst>
              </p:cNvPr>
              <p:cNvSpPr/>
              <p:nvPr/>
            </p:nvSpPr>
            <p:spPr>
              <a:xfrm>
                <a:off x="6636659" y="2590593"/>
                <a:ext cx="1620940" cy="2979250"/>
              </a:xfrm>
              <a:prstGeom prst="rect">
                <a:avLst/>
              </a:prstGeom>
              <a:solidFill>
                <a:srgbClr val="F07D00">
                  <a:alpha val="10196"/>
                </a:srgbClr>
              </a:solidFill>
              <a:ln w="12700">
                <a:solidFill>
                  <a:schemeClr val="accent2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</p:grpSp>
      </p:grpSp>
      <p:grpSp>
        <p:nvGrpSpPr>
          <p:cNvPr id="40" name="Agrupar 39">
            <a:extLst>
              <a:ext uri="{FF2B5EF4-FFF2-40B4-BE49-F238E27FC236}">
                <a16:creationId xmlns:a16="http://schemas.microsoft.com/office/drawing/2014/main" id="{A46A6DA9-7C88-0AF7-5F02-898267965387}"/>
              </a:ext>
            </a:extLst>
          </p:cNvPr>
          <p:cNvGrpSpPr>
            <a:grpSpLocks/>
          </p:cNvGrpSpPr>
          <p:nvPr/>
        </p:nvGrpSpPr>
        <p:grpSpPr bwMode="auto">
          <a:xfrm>
            <a:off x="9766301" y="1428750"/>
            <a:ext cx="976313" cy="571500"/>
            <a:chOff x="8204876" y="2202619"/>
            <a:chExt cx="975070" cy="571032"/>
          </a:xfrm>
        </p:grpSpPr>
        <p:sp>
          <p:nvSpPr>
            <p:cNvPr id="38949" name="CaixaDeTexto 40">
              <a:extLst>
                <a:ext uri="{FF2B5EF4-FFF2-40B4-BE49-F238E27FC236}">
                  <a16:creationId xmlns:a16="http://schemas.microsoft.com/office/drawing/2014/main" id="{95B81907-C828-EC66-D4CF-9D8C9A7FD6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23787" y="2202619"/>
              <a:ext cx="856159" cy="431446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rgbClr val="FF3300"/>
                </a:buClr>
                <a:buChar char="•"/>
                <a:defRPr sz="2400">
                  <a:solidFill>
                    <a:schemeClr val="tx2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FF3300"/>
                </a:buClr>
                <a:buChar char="–"/>
                <a:defRPr sz="2000">
                  <a:solidFill>
                    <a:schemeClr val="tx2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F3300"/>
                </a:buClr>
                <a:buChar char="»"/>
                <a:defRPr>
                  <a:solidFill>
                    <a:schemeClr val="tx2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FF3300"/>
                </a:buClr>
                <a:buFont typeface="Wingdings" panose="05000000000000000000" pitchFamily="2" charset="2"/>
                <a:buChar char="Ø"/>
                <a:defRPr sz="1600">
                  <a:solidFill>
                    <a:schemeClr val="tx2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80000"/>
                </a:spcAft>
                <a:buClr>
                  <a:srgbClr val="FF3300"/>
                </a:buClr>
                <a:buChar char="–"/>
                <a:defRPr sz="1400">
                  <a:solidFill>
                    <a:schemeClr val="tx2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pt-BR" altLang="pt-BR" sz="1100">
                  <a:solidFill>
                    <a:schemeClr val="accent4"/>
                  </a:solidFill>
                  <a:latin typeface="Tahoma" panose="020B0604030504040204" pitchFamily="34" charset="0"/>
                </a:rPr>
                <a:t>VminOp</a:t>
              </a:r>
            </a:p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endParaRPr lang="pt-BR" altLang="pt-BR" sz="1100">
                <a:solidFill>
                  <a:schemeClr val="accent4"/>
                </a:solidFill>
                <a:latin typeface="Tahoma" panose="020B0604030504040204" pitchFamily="34" charset="0"/>
              </a:endParaRPr>
            </a:p>
          </p:txBody>
        </p:sp>
        <p:cxnSp>
          <p:nvCxnSpPr>
            <p:cNvPr id="42" name="Conector Angulado 67">
              <a:extLst>
                <a:ext uri="{FF2B5EF4-FFF2-40B4-BE49-F238E27FC236}">
                  <a16:creationId xmlns:a16="http://schemas.microsoft.com/office/drawing/2014/main" id="{12B0E505-959A-330B-49DF-361A90A93000}"/>
                </a:ext>
              </a:extLst>
            </p:cNvPr>
            <p:cNvCxnSpPr>
              <a:cxnSpLocks/>
              <a:endCxn id="38949" idx="1"/>
            </p:cNvCxnSpPr>
            <p:nvPr/>
          </p:nvCxnSpPr>
          <p:spPr>
            <a:xfrm rot="5400000" flipH="1" flipV="1">
              <a:off x="8086678" y="2536540"/>
              <a:ext cx="355309" cy="118911"/>
            </a:xfrm>
            <a:prstGeom prst="bentConnector2">
              <a:avLst/>
            </a:prstGeom>
            <a:ln>
              <a:solidFill>
                <a:schemeClr val="accent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Agrupar 53">
            <a:extLst>
              <a:ext uri="{FF2B5EF4-FFF2-40B4-BE49-F238E27FC236}">
                <a16:creationId xmlns:a16="http://schemas.microsoft.com/office/drawing/2014/main" id="{69D05AC8-5A05-E5A1-0231-AFF153760A0E}"/>
              </a:ext>
            </a:extLst>
          </p:cNvPr>
          <p:cNvGrpSpPr>
            <a:grpSpLocks/>
          </p:cNvGrpSpPr>
          <p:nvPr/>
        </p:nvGrpSpPr>
        <p:grpSpPr bwMode="auto">
          <a:xfrm>
            <a:off x="5472115" y="1273175"/>
            <a:ext cx="2060811" cy="3246438"/>
            <a:chOff x="3948857" y="1273443"/>
            <a:chExt cx="2059361" cy="3245414"/>
          </a:xfrm>
        </p:grpSpPr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8A1B0F6F-BC6A-9FBD-4D35-A7D9590BC51E}"/>
                </a:ext>
              </a:extLst>
            </p:cNvPr>
            <p:cNvSpPr/>
            <p:nvPr/>
          </p:nvSpPr>
          <p:spPr>
            <a:xfrm>
              <a:off x="3948857" y="2032029"/>
              <a:ext cx="1703776" cy="2486828"/>
            </a:xfrm>
            <a:prstGeom prst="rect">
              <a:avLst/>
            </a:prstGeom>
            <a:noFill/>
            <a:ln w="12700">
              <a:solidFill>
                <a:schemeClr val="accent4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grpSp>
          <p:nvGrpSpPr>
            <p:cNvPr id="46113" name="Agrupar 52">
              <a:extLst>
                <a:ext uri="{FF2B5EF4-FFF2-40B4-BE49-F238E27FC236}">
                  <a16:creationId xmlns:a16="http://schemas.microsoft.com/office/drawing/2014/main" id="{BDAA562C-C80F-0FE4-78BB-884F52873A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91225" y="1273443"/>
              <a:ext cx="1216993" cy="749065"/>
              <a:chOff x="4791225" y="1273443"/>
              <a:chExt cx="1216993" cy="749065"/>
            </a:xfrm>
          </p:grpSpPr>
          <p:cxnSp>
            <p:nvCxnSpPr>
              <p:cNvPr id="33" name="Conector Angulado 53">
                <a:extLst>
                  <a:ext uri="{FF2B5EF4-FFF2-40B4-BE49-F238E27FC236}">
                    <a16:creationId xmlns:a16="http://schemas.microsoft.com/office/drawing/2014/main" id="{1240C3AC-A8B1-1509-2B19-06381845EB4E}"/>
                  </a:ext>
                </a:extLst>
              </p:cNvPr>
              <p:cNvCxnSpPr>
                <a:cxnSpLocks/>
                <a:endCxn id="38948" idx="1"/>
              </p:cNvCxnSpPr>
              <p:nvPr/>
            </p:nvCxnSpPr>
            <p:spPr>
              <a:xfrm rot="5400000" flipH="1" flipV="1">
                <a:off x="4602640" y="1592792"/>
                <a:ext cx="618301" cy="241131"/>
              </a:xfrm>
              <a:prstGeom prst="bentConnector2">
                <a:avLst/>
              </a:prstGeom>
              <a:ln>
                <a:solidFill>
                  <a:schemeClr val="accent4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948" name="CaixaDeTexto 44">
                <a:extLst>
                  <a:ext uri="{FF2B5EF4-FFF2-40B4-BE49-F238E27FC236}">
                    <a16:creationId xmlns:a16="http://schemas.microsoft.com/office/drawing/2014/main" id="{796F7146-0D11-E149-8423-092EF68E523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032356" y="1273443"/>
                <a:ext cx="975862" cy="2615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F3300"/>
                  </a:buClr>
                  <a:buChar char="•"/>
                  <a:defRPr sz="24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FF3300"/>
                  </a:buClr>
                  <a:buChar char="–"/>
                  <a:defRPr sz="20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F3300"/>
                  </a:buClr>
                  <a:buChar char="»"/>
                  <a:defRPr>
                    <a:solidFill>
                      <a:schemeClr val="tx2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FF3300"/>
                  </a:buClr>
                  <a:buFont typeface="Wingdings" panose="05000000000000000000" pitchFamily="2" charset="2"/>
                  <a:buChar char="Ø"/>
                  <a:defRPr sz="16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spcAft>
                    <a:spcPct val="80000"/>
                  </a:spcAft>
                  <a:buClr>
                    <a:srgbClr val="FF3300"/>
                  </a:buClr>
                  <a:buChar char="–"/>
                  <a:defRPr sz="14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80000"/>
                  </a:spcAft>
                  <a:buClr>
                    <a:srgbClr val="FF3300"/>
                  </a:buClr>
                  <a:buChar char="–"/>
                  <a:defRPr sz="14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80000"/>
                  </a:spcAft>
                  <a:buClr>
                    <a:srgbClr val="FF3300"/>
                  </a:buClr>
                  <a:buChar char="–"/>
                  <a:defRPr sz="14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80000"/>
                  </a:spcAft>
                  <a:buClr>
                    <a:srgbClr val="FF3300"/>
                  </a:buClr>
                  <a:buChar char="–"/>
                  <a:defRPr sz="14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80000"/>
                  </a:spcAft>
                  <a:buClr>
                    <a:srgbClr val="FF3300"/>
                  </a:buClr>
                  <a:buChar char="–"/>
                  <a:defRPr sz="1400">
                    <a:solidFill>
                      <a:schemeClr val="tx2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FontTx/>
                  <a:buNone/>
                  <a:defRPr/>
                </a:pPr>
                <a:r>
                  <a:rPr lang="pt-BR" altLang="pt-BR" sz="1100" dirty="0">
                    <a:solidFill>
                      <a:schemeClr val="accent4"/>
                    </a:solidFill>
                    <a:latin typeface="Tahoma" panose="020B0604030504040204" pitchFamily="34" charset="0"/>
                  </a:rPr>
                  <a:t>CAR + POCP</a:t>
                </a:r>
              </a:p>
            </p:txBody>
          </p:sp>
        </p:grpSp>
      </p:grp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BFB40777-4BD3-35CE-A25C-065BD809487C}"/>
              </a:ext>
            </a:extLst>
          </p:cNvPr>
          <p:cNvSpPr/>
          <p:nvPr/>
        </p:nvSpPr>
        <p:spPr bwMode="auto">
          <a:xfrm>
            <a:off x="2095501" y="5481639"/>
            <a:ext cx="1389063" cy="574675"/>
          </a:xfrm>
          <a:prstGeom prst="roundRect">
            <a:avLst/>
          </a:prstGeom>
          <a:noFill/>
          <a:ln>
            <a:noFill/>
          </a:ln>
          <a:effectLst/>
        </p:spPr>
        <p:txBody>
          <a:bodyPr tIns="0" bIns="0" anchor="ctr"/>
          <a:lstStyle/>
          <a:p>
            <a:pPr algn="ctr" eaLnBrk="1" hangingPunct="1">
              <a:spcBef>
                <a:spcPct val="50000"/>
              </a:spcBef>
              <a:defRPr/>
            </a:pPr>
            <a:r>
              <a:rPr lang="pt-BR" dirty="0">
                <a:solidFill>
                  <a:srgbClr val="0070C0"/>
                </a:solidFill>
              </a:rPr>
              <a:t>PLD teto</a:t>
            </a:r>
          </a:p>
        </p:txBody>
      </p:sp>
      <p:cxnSp>
        <p:nvCxnSpPr>
          <p:cNvPr id="49" name="Conector de Seta Reta 48">
            <a:extLst>
              <a:ext uri="{FF2B5EF4-FFF2-40B4-BE49-F238E27FC236}">
                <a16:creationId xmlns:a16="http://schemas.microsoft.com/office/drawing/2014/main" id="{58DF1929-FA54-CDE1-463D-3B6EC2D5A268}"/>
              </a:ext>
            </a:extLst>
          </p:cNvPr>
          <p:cNvCxnSpPr/>
          <p:nvPr/>
        </p:nvCxnSpPr>
        <p:spPr bwMode="auto">
          <a:xfrm>
            <a:off x="3684589" y="5835650"/>
            <a:ext cx="3779837" cy="0"/>
          </a:xfrm>
          <a:prstGeom prst="straightConnector1">
            <a:avLst/>
          </a:prstGeom>
          <a:ln w="31750">
            <a:solidFill>
              <a:srgbClr val="0070C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6105" name="Retângulo: Cantos Arredondados 50">
            <a:extLst>
              <a:ext uri="{FF2B5EF4-FFF2-40B4-BE49-F238E27FC236}">
                <a16:creationId xmlns:a16="http://schemas.microsoft.com/office/drawing/2014/main" id="{55DE5EF4-A18D-8872-E4BA-68DBFD0CB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5051" y="5373688"/>
            <a:ext cx="1787525" cy="576262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 anchor="ctr"/>
          <a:lstStyle>
            <a:lvl1pPr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1pPr>
            <a:lvl2pPr marL="742950" indent="-28575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2pPr>
            <a:lvl3pPr marL="1143000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3pPr>
            <a:lvl4pPr marL="1600200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4pPr>
            <a:lvl5pPr marL="2057400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pt-BR" altLang="pt-BR" sz="1200" b="0">
                <a:solidFill>
                  <a:schemeClr val="tx2"/>
                </a:solidFill>
              </a:rPr>
              <a:t>Decreto 5.163/2004</a:t>
            </a:r>
          </a:p>
        </p:txBody>
      </p:sp>
      <p:cxnSp>
        <p:nvCxnSpPr>
          <p:cNvPr id="44" name="Conector de Seta Reta 43">
            <a:extLst>
              <a:ext uri="{FF2B5EF4-FFF2-40B4-BE49-F238E27FC236}">
                <a16:creationId xmlns:a16="http://schemas.microsoft.com/office/drawing/2014/main" id="{74F098D8-1558-FEC2-F2B1-635383358865}"/>
              </a:ext>
            </a:extLst>
          </p:cNvPr>
          <p:cNvCxnSpPr/>
          <p:nvPr/>
        </p:nvCxnSpPr>
        <p:spPr bwMode="auto">
          <a:xfrm>
            <a:off x="7483476" y="5835650"/>
            <a:ext cx="2195513" cy="0"/>
          </a:xfrm>
          <a:prstGeom prst="straightConnector1">
            <a:avLst/>
          </a:prstGeom>
          <a:ln w="31750">
            <a:solidFill>
              <a:srgbClr val="0070C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6107" name="Retângulo: Cantos Arredondados 50">
            <a:extLst>
              <a:ext uri="{FF2B5EF4-FFF2-40B4-BE49-F238E27FC236}">
                <a16:creationId xmlns:a16="http://schemas.microsoft.com/office/drawing/2014/main" id="{83984CD6-9D96-0256-896C-2900F9581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8364" y="5403851"/>
            <a:ext cx="1787525" cy="576263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0" bIns="0" anchor="ctr"/>
          <a:lstStyle>
            <a:lvl1pPr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1pPr>
            <a:lvl2pPr marL="742950" indent="-28575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2pPr>
            <a:lvl3pPr marL="1143000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3pPr>
            <a:lvl4pPr marL="1600200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4pPr>
            <a:lvl5pPr marL="2057400" indent="-228600"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F0490F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pt-BR" altLang="pt-BR" sz="1200" b="0">
                <a:solidFill>
                  <a:schemeClr val="tx2"/>
                </a:solidFill>
              </a:rPr>
              <a:t>REN 633/2014</a:t>
            </a:r>
          </a:p>
        </p:txBody>
      </p:sp>
      <p:sp>
        <p:nvSpPr>
          <p:cNvPr id="47" name="Retângulo: Cantos Arredondados 50">
            <a:extLst>
              <a:ext uri="{FF2B5EF4-FFF2-40B4-BE49-F238E27FC236}">
                <a16:creationId xmlns:a16="http://schemas.microsoft.com/office/drawing/2014/main" id="{A230A91A-DA95-9ECC-CF73-D7818C5F19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3764" y="5791200"/>
            <a:ext cx="1787525" cy="3175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</p:spPr>
        <p:txBody>
          <a:bodyPr tIns="0" bIns="0" anchor="ctr"/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  <a:defRPr/>
            </a:pPr>
            <a:r>
              <a:rPr lang="pt-BR" altLang="pt-BR" sz="1100" dirty="0">
                <a:latin typeface="+mn-lt"/>
              </a:rPr>
              <a:t>2004: R$452,00/</a:t>
            </a:r>
            <a:r>
              <a:rPr lang="pt-BR" altLang="pt-BR" sz="1100" dirty="0" err="1">
                <a:latin typeface="+mn-lt"/>
              </a:rPr>
              <a:t>MWh</a:t>
            </a:r>
            <a:endParaRPr lang="pt-BR" altLang="pt-BR" sz="1100" dirty="0">
              <a:latin typeface="+mn-lt"/>
            </a:endParaRPr>
          </a:p>
        </p:txBody>
      </p:sp>
      <p:sp>
        <p:nvSpPr>
          <p:cNvPr id="48" name="Retângulo: Cantos Arredondados 50">
            <a:extLst>
              <a:ext uri="{FF2B5EF4-FFF2-40B4-BE49-F238E27FC236}">
                <a16:creationId xmlns:a16="http://schemas.microsoft.com/office/drawing/2014/main" id="{02D6E12D-9B22-B7F8-5FE8-1E90CAD88A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3114" y="5816600"/>
            <a:ext cx="1787525" cy="3175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</p:spPr>
        <p:txBody>
          <a:bodyPr tIns="0" bIns="0" anchor="ctr"/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  <a:defRPr/>
            </a:pPr>
            <a:r>
              <a:rPr lang="pt-BR" altLang="pt-BR" sz="1100" dirty="0">
                <a:latin typeface="+mn-lt"/>
              </a:rPr>
              <a:t>2014: R$822,83/</a:t>
            </a:r>
            <a:r>
              <a:rPr lang="pt-BR" altLang="pt-BR" sz="1100" dirty="0" err="1">
                <a:latin typeface="+mn-lt"/>
              </a:rPr>
              <a:t>MWh</a:t>
            </a:r>
            <a:endParaRPr lang="pt-BR" altLang="pt-BR" sz="1100" dirty="0">
              <a:latin typeface="+mn-lt"/>
            </a:endParaRPr>
          </a:p>
        </p:txBody>
      </p:sp>
      <p:sp>
        <p:nvSpPr>
          <p:cNvPr id="50" name="Retângulo: Cantos Arredondados 50">
            <a:extLst>
              <a:ext uri="{FF2B5EF4-FFF2-40B4-BE49-F238E27FC236}">
                <a16:creationId xmlns:a16="http://schemas.microsoft.com/office/drawing/2014/main" id="{1255493C-53C8-639F-944C-745ED5F3A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6001" y="5824538"/>
            <a:ext cx="1789113" cy="3175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</p:spPr>
        <p:txBody>
          <a:bodyPr tIns="0" bIns="0" anchor="ctr"/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  <a:defRPr/>
            </a:pPr>
            <a:r>
              <a:rPr lang="pt-BR" altLang="pt-BR" sz="1100" dirty="0">
                <a:latin typeface="+mn-lt"/>
              </a:rPr>
              <a:t>2015: R$388,48/</a:t>
            </a:r>
            <a:r>
              <a:rPr lang="pt-BR" altLang="pt-BR" sz="1100" dirty="0" err="1">
                <a:latin typeface="+mn-lt"/>
              </a:rPr>
              <a:t>MWh</a:t>
            </a:r>
            <a:endParaRPr lang="pt-BR" altLang="pt-BR" sz="1100" dirty="0">
              <a:latin typeface="+mn-lt"/>
            </a:endParaRPr>
          </a:p>
        </p:txBody>
      </p:sp>
      <p:sp>
        <p:nvSpPr>
          <p:cNvPr id="51" name="Retângulo: Cantos Arredondados 50">
            <a:extLst>
              <a:ext uri="{FF2B5EF4-FFF2-40B4-BE49-F238E27FC236}">
                <a16:creationId xmlns:a16="http://schemas.microsoft.com/office/drawing/2014/main" id="{F2479E8F-F1FF-7A8D-0B7A-1A0EEFE49F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0963" y="5832475"/>
            <a:ext cx="1789112" cy="3175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</p:spPr>
        <p:txBody>
          <a:bodyPr tIns="0" bIns="0" anchor="ctr"/>
          <a:lstStyle>
            <a:lvl1pPr>
              <a:spcBef>
                <a:spcPct val="20000"/>
              </a:spcBef>
              <a:buClr>
                <a:srgbClr val="FF3300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3300"/>
              </a:buClr>
              <a:buChar char="–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3300"/>
              </a:buClr>
              <a:buChar char="»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3300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80000"/>
              </a:spcAft>
              <a:buClr>
                <a:srgbClr val="FF3300"/>
              </a:buClr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  <a:defRPr/>
            </a:pPr>
            <a:r>
              <a:rPr lang="pt-BR" altLang="pt-BR" sz="1100" dirty="0">
                <a:latin typeface="+mn-lt"/>
              </a:rPr>
              <a:t>2019: R$513,89/</a:t>
            </a:r>
            <a:r>
              <a:rPr lang="pt-BR" altLang="pt-BR" sz="1100" dirty="0" err="1">
                <a:latin typeface="+mn-lt"/>
              </a:rPr>
              <a:t>MWh</a:t>
            </a:r>
            <a:endParaRPr lang="pt-BR" altLang="pt-BR" sz="1100" dirty="0">
              <a:latin typeface="+mn-lt"/>
            </a:endParaRPr>
          </a:p>
        </p:txBody>
      </p:sp>
      <p:sp>
        <p:nvSpPr>
          <p:cNvPr id="2" name="Fluxograma: Processo Alternativo 1">
            <a:extLst>
              <a:ext uri="{FF2B5EF4-FFF2-40B4-BE49-F238E27FC236}">
                <a16:creationId xmlns:a16="http://schemas.microsoft.com/office/drawing/2014/main" id="{A9BD6B2C-5286-4A72-20D7-3CA6643F6212}"/>
              </a:ext>
            </a:extLst>
          </p:cNvPr>
          <p:cNvSpPr/>
          <p:nvPr/>
        </p:nvSpPr>
        <p:spPr>
          <a:xfrm>
            <a:off x="3760342" y="6328882"/>
            <a:ext cx="5245547" cy="146524"/>
          </a:xfrm>
          <a:prstGeom prst="flowChartAlternate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Questão central é: quem paga a conta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 nodeType="clickPar">
                      <p:stCondLst>
                        <p:cond delay="indefinite"/>
                      </p:stCondLst>
                      <p:childTnLst>
                        <p:par>
                          <p:cTn id="8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 nodeType="clickPar">
                      <p:stCondLst>
                        <p:cond delay="indefinite"/>
                      </p:stCondLst>
                      <p:childTnLst>
                        <p:par>
                          <p:cTn id="9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  <p:bldP spid="23" grpId="0" animBg="1"/>
      <p:bldP spid="24" grpId="0" animBg="1"/>
      <p:bldP spid="27" grpId="0"/>
      <p:bldP spid="29" grpId="0"/>
      <p:bldP spid="31" grpId="0"/>
      <p:bldP spid="34" grpId="0"/>
      <p:bldP spid="3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22CFCEE7-8920-DEF9-8D78-61E914ACE7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Histórico de ENA – Média Móvel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058A6C2-6848-35B0-439F-4001FC1D26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C367B2E-B9DF-44EB-A21A-64C9723206C9}" type="slidenum">
              <a:rPr lang="fr-FR" smtClean="0"/>
              <a:pPr/>
              <a:t>5</a:t>
            </a:fld>
            <a:endParaRPr lang="fr-FR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52AAE34-9822-7031-EF84-21DD750AB0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175" y="1206394"/>
            <a:ext cx="9182100" cy="5296279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D8F0C9C-8730-ED87-3470-D082DE58ACB1}"/>
              </a:ext>
            </a:extLst>
          </p:cNvPr>
          <p:cNvSpPr txBox="1"/>
          <p:nvPr/>
        </p:nvSpPr>
        <p:spPr>
          <a:xfrm>
            <a:off x="9789547" y="2466754"/>
            <a:ext cx="22218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/>
              <a:t>ENA =  </a:t>
            </a:r>
            <a:r>
              <a:rPr lang="pt-BR" sz="1600"/>
              <a:t>105 GW-médios</a:t>
            </a: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30806737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8BDC236-DCD2-DC9C-FAC4-FFC5508E98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Evolução da Capacidade Instalada</a:t>
            </a: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F5F3BC0C-03AD-44AA-9BBA-7D2767032C8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1350179"/>
              </p:ext>
            </p:extLst>
          </p:nvPr>
        </p:nvGraphicFramePr>
        <p:xfrm>
          <a:off x="1523211" y="788513"/>
          <a:ext cx="9681328" cy="53672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707456C6-C512-D67E-159D-541F17E601C3}"/>
              </a:ext>
            </a:extLst>
          </p:cNvPr>
          <p:cNvSpPr txBox="1"/>
          <p:nvPr/>
        </p:nvSpPr>
        <p:spPr>
          <a:xfrm>
            <a:off x="1212350" y="6204252"/>
            <a:ext cx="114865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err="1">
                <a:solidFill>
                  <a:srgbClr val="FF0000"/>
                </a:solidFill>
              </a:rPr>
              <a:t>Sobre-oferta</a:t>
            </a:r>
            <a:r>
              <a:rPr lang="pt-BR" sz="1600" dirty="0">
                <a:solidFill>
                  <a:srgbClr val="FF0000"/>
                </a:solidFill>
              </a:rPr>
              <a:t> estrutural, reservatórios recuperados, geração hidrelétrica baixa, </a:t>
            </a:r>
            <a:r>
              <a:rPr lang="pt-BR" sz="1600" i="1" dirty="0" err="1">
                <a:solidFill>
                  <a:srgbClr val="FF0000"/>
                </a:solidFill>
              </a:rPr>
              <a:t>curtailment</a:t>
            </a:r>
            <a:r>
              <a:rPr lang="pt-BR" sz="1600" i="1" dirty="0">
                <a:solidFill>
                  <a:srgbClr val="FF0000"/>
                </a:solidFill>
              </a:rPr>
              <a:t> generalizado</a:t>
            </a:r>
            <a:r>
              <a:rPr lang="pt-BR" sz="1600" dirty="0">
                <a:solidFill>
                  <a:srgbClr val="FF0000"/>
                </a:solidFill>
              </a:rPr>
              <a:t>, e despacho termelétrico!!!</a:t>
            </a:r>
          </a:p>
        </p:txBody>
      </p:sp>
    </p:spTree>
    <p:extLst>
      <p:ext uri="{BB962C8B-B14F-4D97-AF65-F5344CB8AC3E}">
        <p14:creationId xmlns:p14="http://schemas.microsoft.com/office/powerpoint/2010/main" val="1985965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C05E5F59-4A88-AD33-A13C-C84F8EB3A12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Geração hidrelétrica horária provendo flexibilidade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DD8D315-5F7A-015B-57DB-CD290B9C4D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4941" y="951345"/>
            <a:ext cx="9609295" cy="5805055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EFE82E73-454A-E874-B915-BC2847019361}"/>
              </a:ext>
            </a:extLst>
          </p:cNvPr>
          <p:cNvSpPr txBox="1"/>
          <p:nvPr/>
        </p:nvSpPr>
        <p:spPr>
          <a:xfrm>
            <a:off x="2880276" y="6223683"/>
            <a:ext cx="1607128" cy="369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Fonte: </a:t>
            </a:r>
            <a:r>
              <a:rPr lang="pt-BR">
                <a:hlinkClick r:id="rId3"/>
              </a:rPr>
              <a:t>ONS</a:t>
            </a:r>
            <a:endParaRPr lang="pt-BR"/>
          </a:p>
        </p:txBody>
      </p:sp>
      <p:cxnSp>
        <p:nvCxnSpPr>
          <p:cNvPr id="8" name="Conector de Seta Reta 7">
            <a:extLst>
              <a:ext uri="{FF2B5EF4-FFF2-40B4-BE49-F238E27FC236}">
                <a16:creationId xmlns:a16="http://schemas.microsoft.com/office/drawing/2014/main" id="{1E7442A9-9796-A5E0-69AB-8940B4DCB4F4}"/>
              </a:ext>
            </a:extLst>
          </p:cNvPr>
          <p:cNvCxnSpPr>
            <a:cxnSpLocks/>
          </p:cNvCxnSpPr>
          <p:nvPr/>
        </p:nvCxnSpPr>
        <p:spPr>
          <a:xfrm>
            <a:off x="7929417" y="1681018"/>
            <a:ext cx="0" cy="234603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aixaDeTexto 8">
            <a:extLst>
              <a:ext uri="{FF2B5EF4-FFF2-40B4-BE49-F238E27FC236}">
                <a16:creationId xmlns:a16="http://schemas.microsoft.com/office/drawing/2014/main" id="{509CE803-4BDE-7BB9-86E5-DC6382D37572}"/>
              </a:ext>
            </a:extLst>
          </p:cNvPr>
          <p:cNvSpPr txBox="1"/>
          <p:nvPr/>
        </p:nvSpPr>
        <p:spPr>
          <a:xfrm>
            <a:off x="9190182" y="6223375"/>
            <a:ext cx="93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18h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AA756BC-0654-53BC-DCFA-C86D56F28AE3}"/>
              </a:ext>
            </a:extLst>
          </p:cNvPr>
          <p:cNvSpPr txBox="1"/>
          <p:nvPr/>
        </p:nvSpPr>
        <p:spPr>
          <a:xfrm>
            <a:off x="7564581" y="6223375"/>
            <a:ext cx="93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12h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89FA53FE-33C3-4B83-F6AF-BA44ABA4156B}"/>
              </a:ext>
            </a:extLst>
          </p:cNvPr>
          <p:cNvSpPr txBox="1"/>
          <p:nvPr/>
        </p:nvSpPr>
        <p:spPr>
          <a:xfrm>
            <a:off x="6136963" y="6223375"/>
            <a:ext cx="9328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6h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169E2C0-1DC6-A852-CFFF-A25B7868181F}"/>
              </a:ext>
            </a:extLst>
          </p:cNvPr>
          <p:cNvSpPr txBox="1"/>
          <p:nvPr/>
        </p:nvSpPr>
        <p:spPr>
          <a:xfrm>
            <a:off x="7069836" y="2207705"/>
            <a:ext cx="1302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/>
              <a:t>27.715 </a:t>
            </a:r>
            <a:r>
              <a:rPr lang="pt-BR" err="1"/>
              <a:t>MWm</a:t>
            </a:r>
            <a:endParaRPr lang="pt-BR"/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2F39462F-8746-C5BC-2E41-2165A65F7C13}"/>
              </a:ext>
            </a:extLst>
          </p:cNvPr>
          <p:cNvCxnSpPr>
            <a:cxnSpLocks/>
          </p:cNvCxnSpPr>
          <p:nvPr/>
        </p:nvCxnSpPr>
        <p:spPr>
          <a:xfrm>
            <a:off x="6381188" y="3158836"/>
            <a:ext cx="0" cy="306453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308ED28B-BF72-951C-4BAB-B2405D9E94BF}"/>
              </a:ext>
            </a:extLst>
          </p:cNvPr>
          <p:cNvCxnSpPr>
            <a:cxnSpLocks/>
          </p:cNvCxnSpPr>
          <p:nvPr/>
        </p:nvCxnSpPr>
        <p:spPr>
          <a:xfrm>
            <a:off x="7929417" y="4211782"/>
            <a:ext cx="0" cy="2011593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22AB8B68-DA1B-F2A7-131D-3D335BF39FB6}"/>
              </a:ext>
            </a:extLst>
          </p:cNvPr>
          <p:cNvCxnSpPr>
            <a:cxnSpLocks/>
          </p:cNvCxnSpPr>
          <p:nvPr/>
        </p:nvCxnSpPr>
        <p:spPr>
          <a:xfrm>
            <a:off x="9479988" y="1778000"/>
            <a:ext cx="0" cy="4445375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2736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76DB4B3-25AD-6DA7-B02E-F831082AA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A Nova Realidade dos </a:t>
            </a:r>
            <a:r>
              <a:rPr lang="pt-BR" i="1" dirty="0" err="1"/>
              <a:t>Curtailments</a:t>
            </a:r>
            <a:endParaRPr lang="pt-BR" i="1" dirty="0"/>
          </a:p>
        </p:txBody>
      </p:sp>
      <p:sp>
        <p:nvSpPr>
          <p:cNvPr id="3" name="AutoShape 2">
            <a:extLst>
              <a:ext uri="{FF2B5EF4-FFF2-40B4-BE49-F238E27FC236}">
                <a16:creationId xmlns:a16="http://schemas.microsoft.com/office/drawing/2014/main" id="{FAB2764A-04BE-ACB8-D849-51D96EDF23B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DE72977D-7510-8455-6853-95A9B3440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13735"/>
            <a:ext cx="11503578" cy="3010702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8CA49CF8-78C1-8E50-44D4-1C58B879CAB1}"/>
              </a:ext>
            </a:extLst>
          </p:cNvPr>
          <p:cNvSpPr/>
          <p:nvPr/>
        </p:nvSpPr>
        <p:spPr>
          <a:xfrm>
            <a:off x="4109663" y="5558319"/>
            <a:ext cx="3154166" cy="72898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dirty="0"/>
              <a:t>Fins de semana e feriados com cortes de geração mais intensos</a:t>
            </a:r>
          </a:p>
        </p:txBody>
      </p:sp>
    </p:spTree>
    <p:extLst>
      <p:ext uri="{BB962C8B-B14F-4D97-AF65-F5344CB8AC3E}">
        <p14:creationId xmlns:p14="http://schemas.microsoft.com/office/powerpoint/2010/main" val="21157400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F34D79D-0CEB-FFEB-9BB2-448434A51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6581"/>
            <a:ext cx="10515600" cy="657546"/>
          </a:xfrm>
        </p:spPr>
        <p:txBody>
          <a:bodyPr/>
          <a:lstStyle/>
          <a:p>
            <a:r>
              <a:rPr lang="pt-BR" sz="23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 onde estamos?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E4FC027-2D82-67AA-5577-B93258CEFE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636" y="1109321"/>
            <a:ext cx="10515600" cy="3632203"/>
          </a:xfrm>
        </p:spPr>
        <p:txBody>
          <a:bodyPr>
            <a:noAutofit/>
          </a:bodyPr>
          <a:lstStyle/>
          <a:p>
            <a:r>
              <a:rPr lang="pt-BR" sz="1800" dirty="0"/>
              <a:t>Sinais de preços não chegam ao consumo na dimensão e tempo certos</a:t>
            </a:r>
          </a:p>
          <a:p>
            <a:pPr lvl="1"/>
            <a:r>
              <a:rPr lang="pt-BR" sz="1600" dirty="0"/>
              <a:t>Apenas algumas iniciativas: bandeiras tarifárias para consumidor cativo </a:t>
            </a:r>
          </a:p>
          <a:p>
            <a:pPr marL="457200" lvl="1" indent="0">
              <a:buNone/>
            </a:pPr>
            <a:r>
              <a:rPr lang="pt-BR" sz="1600" dirty="0"/>
              <a:t>      e resposta de demanda para consumidores livres</a:t>
            </a:r>
          </a:p>
          <a:p>
            <a:r>
              <a:rPr lang="pt-BR" sz="1800" dirty="0"/>
              <a:t>Centralização de contratação de energia e formação de “preço”  </a:t>
            </a:r>
            <a:r>
              <a:rPr lang="pt-BR" sz="1800" dirty="0">
                <a:sym typeface="Wingdings" panose="05000000000000000000" pitchFamily="2" charset="2"/>
              </a:rPr>
              <a:t> PLD</a:t>
            </a:r>
            <a:endParaRPr lang="pt-BR" sz="1800" dirty="0"/>
          </a:p>
          <a:p>
            <a:r>
              <a:rPr lang="pt-BR" sz="1800" dirty="0"/>
              <a:t>Expansão incontrolável da MMGD por subsídios (não pagam transporte)</a:t>
            </a:r>
          </a:p>
          <a:p>
            <a:pPr lvl="1"/>
            <a:r>
              <a:rPr lang="pt-BR" sz="1600" dirty="0"/>
              <a:t>Quem não tem MMGD paga transporte para quem tem!</a:t>
            </a:r>
          </a:p>
          <a:p>
            <a:pPr lvl="1"/>
            <a:r>
              <a:rPr lang="pt-BR" sz="1600" dirty="0"/>
              <a:t>MMGD tem despacho assegurado pelo sol (sem controle do ONS) e se apropriam da geração excedente “acumulada no grid” durante a noite quando pegam sua energia de volta</a:t>
            </a:r>
          </a:p>
          <a:p>
            <a:pPr lvl="2"/>
            <a:r>
              <a:rPr lang="pt-BR" sz="1400" dirty="0"/>
              <a:t>Parte expressiva da geração da MMGD provoca corte de geração em outras fontes!</a:t>
            </a:r>
          </a:p>
          <a:p>
            <a:pPr lvl="1"/>
            <a:r>
              <a:rPr lang="pt-BR" sz="1600" dirty="0"/>
              <a:t>ONS fecha balanço de geração – carga cortando hidrelétricas (</a:t>
            </a:r>
            <a:r>
              <a:rPr lang="pt-BR" sz="1600" dirty="0" err="1"/>
              <a:t>vertimento</a:t>
            </a:r>
            <a:r>
              <a:rPr lang="pt-BR" sz="1600" dirty="0"/>
              <a:t> </a:t>
            </a:r>
            <a:r>
              <a:rPr lang="pt-BR" sz="1600" dirty="0" err="1"/>
              <a:t>turbinável</a:t>
            </a:r>
            <a:r>
              <a:rPr lang="pt-BR" sz="1600" dirty="0"/>
              <a:t>), eólica e solar centralizadas</a:t>
            </a:r>
          </a:p>
          <a:p>
            <a:pPr lvl="2"/>
            <a:r>
              <a:rPr lang="pt-BR" sz="1600" dirty="0"/>
              <a:t>Hoje tem 27.7 GW (2,4 milhões de usuários que são </a:t>
            </a:r>
            <a:r>
              <a:rPr lang="pt-BR" sz="1600" dirty="0" err="1"/>
              <a:t>auto-despacháveis</a:t>
            </a:r>
            <a:r>
              <a:rPr lang="pt-BR" sz="1600" dirty="0"/>
              <a:t> (sem controle do ONS). Como o balanço carga-geração será fechado quando esse número dobrar?</a:t>
            </a:r>
          </a:p>
          <a:p>
            <a:r>
              <a:rPr lang="pt-BR" sz="1800" dirty="0"/>
              <a:t>Preços eficientes e aceleração da abertura do mercado (incluindo BT)</a:t>
            </a:r>
          </a:p>
          <a:p>
            <a:pPr lvl="1"/>
            <a:r>
              <a:rPr lang="pt-BR" sz="1800" dirty="0"/>
              <a:t>Com presença maciça de geração distribuída, apenas preços eficientes alinham os recursos</a:t>
            </a:r>
          </a:p>
          <a:p>
            <a:r>
              <a:rPr lang="pt-BR" sz="1800" dirty="0"/>
              <a:t>Rever o papel das distribuidoras considerando a necessidade de fazer gestão localizado do balanço geração-carga</a:t>
            </a:r>
          </a:p>
          <a:p>
            <a:pPr marL="457200" lvl="1" indent="0" algn="ctr">
              <a:buNone/>
            </a:pPr>
            <a:r>
              <a:rPr lang="pt-BR" sz="1800" dirty="0">
                <a:solidFill>
                  <a:srgbClr val="FF0000"/>
                </a:solidFill>
              </a:rPr>
              <a:t>Enquanto mudanças estruturais não acontecem </a:t>
            </a:r>
            <a:r>
              <a:rPr lang="pt-BR" sz="1800" dirty="0">
                <a:solidFill>
                  <a:srgbClr val="FF0000"/>
                </a:solidFill>
                <a:sym typeface="Wingdings" panose="05000000000000000000" pitchFamily="2" charset="2"/>
              </a:rPr>
              <a:t></a:t>
            </a:r>
            <a:r>
              <a:rPr lang="pt-BR" sz="1800" dirty="0">
                <a:solidFill>
                  <a:srgbClr val="FF0000"/>
                </a:solidFill>
              </a:rPr>
              <a:t> mais crises. </a:t>
            </a:r>
          </a:p>
          <a:p>
            <a:pPr marL="457200" lvl="1" indent="0" algn="ctr">
              <a:buNone/>
            </a:pPr>
            <a:r>
              <a:rPr lang="pt-BR" sz="1600" dirty="0">
                <a:solidFill>
                  <a:srgbClr val="FF0000"/>
                </a:solidFill>
              </a:rPr>
              <a:t>Desperdício de geração e  redução do fator de capacidade das fontes </a:t>
            </a:r>
            <a:r>
              <a:rPr lang="pt-BR" sz="1600" dirty="0">
                <a:solidFill>
                  <a:srgbClr val="FF0000"/>
                </a:solidFill>
                <a:sym typeface="Wingdings" panose="05000000000000000000" pitchFamily="2" charset="2"/>
              </a:rPr>
              <a:t></a:t>
            </a:r>
            <a:r>
              <a:rPr lang="pt-BR" sz="1600" dirty="0">
                <a:solidFill>
                  <a:srgbClr val="FF0000"/>
                </a:solidFill>
              </a:rPr>
              <a:t> maior LCOE</a:t>
            </a:r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4" name="Seta: da Esquerda para a Direita e para Cima 3">
            <a:extLst>
              <a:ext uri="{FF2B5EF4-FFF2-40B4-BE49-F238E27FC236}">
                <a16:creationId xmlns:a16="http://schemas.microsoft.com/office/drawing/2014/main" id="{7C3BBDE6-85B3-09AD-B349-BE917E4313C6}"/>
              </a:ext>
            </a:extLst>
          </p:cNvPr>
          <p:cNvSpPr/>
          <p:nvPr/>
        </p:nvSpPr>
        <p:spPr>
          <a:xfrm rot="5400000">
            <a:off x="7942352" y="1479053"/>
            <a:ext cx="1119883" cy="524840"/>
          </a:xfrm>
          <a:prstGeom prst="leftRightUp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18E8EC62-7F81-24E6-A9CC-78B167C513F3}"/>
              </a:ext>
            </a:extLst>
          </p:cNvPr>
          <p:cNvSpPr/>
          <p:nvPr/>
        </p:nvSpPr>
        <p:spPr>
          <a:xfrm>
            <a:off x="8934236" y="1369702"/>
            <a:ext cx="2768029" cy="74677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rise que poderia ser localizada torna-se sistêmica</a:t>
            </a:r>
          </a:p>
        </p:txBody>
      </p:sp>
    </p:spTree>
    <p:extLst>
      <p:ext uri="{BB962C8B-B14F-4D97-AF65-F5344CB8AC3E}">
        <p14:creationId xmlns:p14="http://schemas.microsoft.com/office/powerpoint/2010/main" val="4151605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Azul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hème Office">
  <a:themeElements>
    <a:clrScheme name="Personnalisé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ACF0"/>
      </a:accent1>
      <a:accent2>
        <a:srgbClr val="68C1C1"/>
      </a:accent2>
      <a:accent3>
        <a:srgbClr val="2D428F"/>
      </a:accent3>
      <a:accent4>
        <a:srgbClr val="68C1C1"/>
      </a:accent4>
      <a:accent5>
        <a:srgbClr val="E52E54"/>
      </a:accent5>
      <a:accent6>
        <a:srgbClr val="FFDB00"/>
      </a:accent6>
      <a:hlink>
        <a:srgbClr val="E96320"/>
      </a:hlink>
      <a:folHlink>
        <a:srgbClr val="B4CC3B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13 - 202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 2013 - 2022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 2013 - 2022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B623E55A11D845AC6F084F62A00B5B" ma:contentTypeVersion="19" ma:contentTypeDescription="Create a new document." ma:contentTypeScope="" ma:versionID="f71fd1f9b17cf80bcb74632d6b967deb">
  <xsd:schema xmlns:xsd="http://www.w3.org/2001/XMLSchema" xmlns:xs="http://www.w3.org/2001/XMLSchema" xmlns:p="http://schemas.microsoft.com/office/2006/metadata/properties" xmlns:ns2="87037488-ec5d-4aba-84c2-9b1d22638e8e" xmlns:ns3="aba7be4e-24b7-4d87-9a69-7425f8bdd16d" xmlns:ns4="da0c839b-ab07-4a3d-be2d-5981298234c6" targetNamespace="http://schemas.microsoft.com/office/2006/metadata/properties" ma:root="true" ma:fieldsID="cd8516bea6237f7ecf71bd7de1667ff2" ns2:_="" ns3:_="" ns4:_="">
    <xsd:import namespace="87037488-ec5d-4aba-84c2-9b1d22638e8e"/>
    <xsd:import namespace="aba7be4e-24b7-4d87-9a69-7425f8bdd16d"/>
    <xsd:import namespace="da0c839b-ab07-4a3d-be2d-5981298234c6"/>
    <xsd:element name="properties">
      <xsd:complexType>
        <xsd:sequence>
          <xsd:element name="documentManagement">
            <xsd:complexType>
              <xsd:all>
                <xsd:element ref="ns2:b1b820adfd3e4a078472514c1a5cb5ff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37488-ec5d-4aba-84c2-9b1d22638e8e" elementFormDefault="qualified">
    <xsd:import namespace="http://schemas.microsoft.com/office/2006/documentManagement/types"/>
    <xsd:import namespace="http://schemas.microsoft.com/office/infopath/2007/PartnerControls"/>
    <xsd:element name="b1b820adfd3e4a078472514c1a5cb5ff" ma:index="8" nillable="true" ma:taxonomy="true" ma:internalName="b1b820adfd3e4a078472514c1a5cb5ff" ma:taxonomyFieldName="Security_x0020_Classification" ma:displayName="Security Classification" ma:default="" ma:fieldId="{b1b820ad-fd3e-4a07-8472-514c1a5cb5ff}" ma:sspId="3bf472f7-a010-4b5a-bb99-a26ed4c99680" ma:termSetId="0c0ba91f-ee81-4a79-83f6-c19eebf2f16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1656269a-aaa6-43b3-98f6-b3b1f23eadb9}" ma:internalName="TaxCatchAll" ma:showField="CatchAllData" ma:web="da0c839b-ab07-4a3d-be2d-5981298234c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1656269a-aaa6-43b3-98f6-b3b1f23eadb9}" ma:internalName="TaxCatchAllLabel" ma:readOnly="true" ma:showField="CatchAllDataLabel" ma:web="da0c839b-ab07-4a3d-be2d-5981298234c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a7be4e-24b7-4d87-9a69-7425f8bdd1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bf472f7-a010-4b5a-bb99-a26ed4c996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0c839b-ab07-4a3d-be2d-5981298234c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1b820adfd3e4a078472514c1a5cb5ff xmlns="87037488-ec5d-4aba-84c2-9b1d22638e8e">
      <Terms xmlns="http://schemas.microsoft.com/office/infopath/2007/PartnerControls"/>
    </b1b820adfd3e4a078472514c1a5cb5ff>
    <lcf76f155ced4ddcb4097134ff3c332f xmlns="aba7be4e-24b7-4d87-9a69-7425f8bdd16d">
      <Terms xmlns="http://schemas.microsoft.com/office/infopath/2007/PartnerControls"/>
    </lcf76f155ced4ddcb4097134ff3c332f>
    <TaxCatchAll xmlns="87037488-ec5d-4aba-84c2-9b1d22638e8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902b3144-05cb-4777-86b3-e84c4a6b5b61" ContentTypeId="0x0101" PreviousValue="true"/>
</file>

<file path=customXml/itemProps1.xml><?xml version="1.0" encoding="utf-8"?>
<ds:datastoreItem xmlns:ds="http://schemas.openxmlformats.org/officeDocument/2006/customXml" ds:itemID="{BC2C45B1-B2A3-49E7-A905-9CF115B9A167}">
  <ds:schemaRefs>
    <ds:schemaRef ds:uri="87037488-ec5d-4aba-84c2-9b1d22638e8e"/>
    <ds:schemaRef ds:uri="aba7be4e-24b7-4d87-9a69-7425f8bdd16d"/>
    <ds:schemaRef ds:uri="da0c839b-ab07-4a3d-be2d-5981298234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AD87DE3-DD01-4D8A-B7A1-20DF48D6D3AF}">
  <ds:schemaRefs>
    <ds:schemaRef ds:uri="http://schemas.microsoft.com/office/2006/documentManagement/types"/>
    <ds:schemaRef ds:uri="http://www.w3.org/XML/1998/namespace"/>
    <ds:schemaRef ds:uri="aba7be4e-24b7-4d87-9a69-7425f8bdd16d"/>
    <ds:schemaRef ds:uri="http://schemas.microsoft.com/office/2006/metadata/properties"/>
    <ds:schemaRef ds:uri="87037488-ec5d-4aba-84c2-9b1d22638e8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a0c839b-ab07-4a3d-be2d-5981298234c6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0572DCD-A7CB-41EA-8E6D-0F949E333BF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B0BB091-34DE-45A8-A708-E3AF9C61233F}">
  <ds:schemaRefs>
    <ds:schemaRef ds:uri="Microsoft.SharePoint.Taxonomy.ContentTypeSync"/>
  </ds:schemaRefs>
</ds:datastoreItem>
</file>

<file path=docMetadata/LabelInfo.xml><?xml version="1.0" encoding="utf-8"?>
<clbl:labelList xmlns:clbl="http://schemas.microsoft.com/office/2020/mipLabelMetadata">
  <clbl:label id="{c135c4ba-2280-41f8-be7d-6f21d368baa3}" enabled="1" method="Standard" siteId="{24139d14-c62c-4c47-8bdd-ce71ea1d50c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2</TotalTime>
  <Words>546</Words>
  <Application>Microsoft Office PowerPoint</Application>
  <PresentationFormat>Widescreen</PresentationFormat>
  <Paragraphs>100</Paragraphs>
  <Slides>9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9</vt:i4>
      </vt:variant>
    </vt:vector>
  </HeadingPairs>
  <TitlesOfParts>
    <vt:vector size="20" baseType="lpstr">
      <vt:lpstr>Aptos</vt:lpstr>
      <vt:lpstr>Aptos Display</vt:lpstr>
      <vt:lpstr>Arial</vt:lpstr>
      <vt:lpstr>Arial Black</vt:lpstr>
      <vt:lpstr>Calibri</vt:lpstr>
      <vt:lpstr>Tahoma</vt:lpstr>
      <vt:lpstr>Wingdings</vt:lpstr>
      <vt:lpstr>Tema do Office</vt:lpstr>
      <vt:lpstr>Thème Office</vt:lpstr>
      <vt:lpstr>Slide do think-cell</vt:lpstr>
      <vt:lpstr>Chart</vt:lpstr>
      <vt:lpstr>Crise Iminente ou Permanente?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 Nova Realidade dos Curtailments</vt:lpstr>
      <vt:lpstr>E onde estamo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MEIDA Rafael (ENGIE BRASIL ENERGIA S.A.)</dc:creator>
  <cp:lastModifiedBy>SILVA Edson (ENGIE BRASIL ENERGIA S.A.)</cp:lastModifiedBy>
  <cp:revision>25</cp:revision>
  <cp:lastPrinted>2024-10-21T14:18:31Z</cp:lastPrinted>
  <dcterms:created xsi:type="dcterms:W3CDTF">2024-08-29T17:08:39Z</dcterms:created>
  <dcterms:modified xsi:type="dcterms:W3CDTF">2024-10-21T14:3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B623E55A11D845AC6F084F62A00B5B</vt:lpwstr>
  </property>
  <property fmtid="{D5CDD505-2E9C-101B-9397-08002B2CF9AE}" pid="3" name="Security Classification">
    <vt:lpwstr/>
  </property>
  <property fmtid="{D5CDD505-2E9C-101B-9397-08002B2CF9AE}" pid="4" name="MediaServiceImageTags">
    <vt:lpwstr/>
  </property>
</Properties>
</file>